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85</c:v>
                </c:pt>
                <c:pt idx="1">
                  <c:v>1597</c:v>
                </c:pt>
                <c:pt idx="2">
                  <c:v>1624</c:v>
                </c:pt>
                <c:pt idx="3">
                  <c:v>1650</c:v>
                </c:pt>
                <c:pt idx="4">
                  <c:v>1670</c:v>
                </c:pt>
                <c:pt idx="5">
                  <c:v>1674</c:v>
                </c:pt>
                <c:pt idx="6">
                  <c:v>1676</c:v>
                </c:pt>
                <c:pt idx="7">
                  <c:v>1772</c:v>
                </c:pt>
                <c:pt idx="8">
                  <c:v>1802</c:v>
                </c:pt>
                <c:pt idx="9">
                  <c:v>1832</c:v>
                </c:pt>
                <c:pt idx="10">
                  <c:v>1821</c:v>
                </c:pt>
                <c:pt idx="11">
                  <c:v>1833</c:v>
                </c:pt>
                <c:pt idx="12">
                  <c:v>1781</c:v>
                </c:pt>
                <c:pt idx="13">
                  <c:v>1828</c:v>
                </c:pt>
                <c:pt idx="14">
                  <c:v>1885</c:v>
                </c:pt>
                <c:pt idx="15">
                  <c:v>1892</c:v>
                </c:pt>
                <c:pt idx="16">
                  <c:v>1861</c:v>
                </c:pt>
                <c:pt idx="17">
                  <c:v>1861</c:v>
                </c:pt>
                <c:pt idx="18">
                  <c:v>1821</c:v>
                </c:pt>
                <c:pt idx="19">
                  <c:v>1782</c:v>
                </c:pt>
                <c:pt idx="20">
                  <c:v>1806</c:v>
                </c:pt>
                <c:pt idx="21">
                  <c:v>1826</c:v>
                </c:pt>
                <c:pt idx="22">
                  <c:v>1778</c:v>
                </c:pt>
                <c:pt idx="23">
                  <c:v>1747</c:v>
                </c:pt>
                <c:pt idx="24">
                  <c:v>1745</c:v>
                </c:pt>
                <c:pt idx="25">
                  <c:v>1683</c:v>
                </c:pt>
                <c:pt idx="26">
                  <c:v>1647</c:v>
                </c:pt>
                <c:pt idx="27">
                  <c:v>1658</c:v>
                </c:pt>
                <c:pt idx="28">
                  <c:v>1668</c:v>
                </c:pt>
                <c:pt idx="29">
                  <c:v>1619</c:v>
                </c:pt>
                <c:pt idx="30">
                  <c:v>1560</c:v>
                </c:pt>
                <c:pt idx="31">
                  <c:v>1513</c:v>
                </c:pt>
                <c:pt idx="32">
                  <c:v>1430</c:v>
                </c:pt>
                <c:pt idx="33">
                  <c:v>1405</c:v>
                </c:pt>
                <c:pt idx="34">
                  <c:v>1385</c:v>
                </c:pt>
                <c:pt idx="35">
                  <c:v>1353</c:v>
                </c:pt>
                <c:pt idx="36">
                  <c:v>1406</c:v>
                </c:pt>
                <c:pt idx="37">
                  <c:v>1374</c:v>
                </c:pt>
                <c:pt idx="38">
                  <c:v>1328</c:v>
                </c:pt>
                <c:pt idx="39">
                  <c:v>1249</c:v>
                </c:pt>
                <c:pt idx="40">
                  <c:v>1233</c:v>
                </c:pt>
                <c:pt idx="41">
                  <c:v>1216</c:v>
                </c:pt>
                <c:pt idx="42">
                  <c:v>1203</c:v>
                </c:pt>
                <c:pt idx="43">
                  <c:v>1177</c:v>
                </c:pt>
                <c:pt idx="44">
                  <c:v>1133</c:v>
                </c:pt>
                <c:pt idx="45">
                  <c:v>1054</c:v>
                </c:pt>
                <c:pt idx="46">
                  <c:v>1032</c:v>
                </c:pt>
                <c:pt idx="47">
                  <c:v>991</c:v>
                </c:pt>
                <c:pt idx="48">
                  <c:v>995</c:v>
                </c:pt>
                <c:pt idx="49">
                  <c:v>1012</c:v>
                </c:pt>
                <c:pt idx="50">
                  <c:v>961</c:v>
                </c:pt>
                <c:pt idx="51">
                  <c:v>920</c:v>
                </c:pt>
                <c:pt idx="52">
                  <c:v>860</c:v>
                </c:pt>
                <c:pt idx="53">
                  <c:v>81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0.2191397925492</c:v>
                </c:pt>
                <c:pt idx="32">
                  <c:v>1496.375196120415</c:v>
                </c:pt>
                <c:pt idx="33">
                  <c:v>1462.9106233174198</c:v>
                </c:pt>
                <c:pt idx="34">
                  <c:v>1430.8212562313993</c:v>
                </c:pt>
                <c:pt idx="35">
                  <c:v>1399.7801552886681</c:v>
                </c:pt>
                <c:pt idx="36">
                  <c:v>1369.2191766887213</c:v>
                </c:pt>
                <c:pt idx="37">
                  <c:v>1338.8762059004825</c:v>
                </c:pt>
                <c:pt idx="38">
                  <c:v>1309.0435564479278</c:v>
                </c:pt>
                <c:pt idx="39">
                  <c:v>1278.9122585332334</c:v>
                </c:pt>
                <c:pt idx="40">
                  <c:v>1248.1905271099413</c:v>
                </c:pt>
                <c:pt idx="41">
                  <c:v>1217.2879555428667</c:v>
                </c:pt>
                <c:pt idx="42">
                  <c:v>1185.7562747416152</c:v>
                </c:pt>
                <c:pt idx="43">
                  <c:v>1153.4204530842198</c:v>
                </c:pt>
                <c:pt idx="44">
                  <c:v>1120.3644613469446</c:v>
                </c:pt>
                <c:pt idx="45">
                  <c:v>1086.8226049174418</c:v>
                </c:pt>
                <c:pt idx="46">
                  <c:v>1053.0999138732045</c:v>
                </c:pt>
                <c:pt idx="47">
                  <c:v>1019.3109100344344</c:v>
                </c:pt>
                <c:pt idx="48">
                  <c:v>985.4354782666253</c:v>
                </c:pt>
                <c:pt idx="49">
                  <c:v>951.48201680966565</c:v>
                </c:pt>
                <c:pt idx="50">
                  <c:v>917.70108637994485</c:v>
                </c:pt>
                <c:pt idx="51">
                  <c:v>884.25294492896614</c:v>
                </c:pt>
                <c:pt idx="52">
                  <c:v>851.42170025383575</c:v>
                </c:pt>
                <c:pt idx="53">
                  <c:v>818.99779153161614</c:v>
                </c:pt>
                <c:pt idx="54">
                  <c:v>787.09799345402007</c:v>
                </c:pt>
                <c:pt idx="55">
                  <c:v>755.85630385895911</c:v>
                </c:pt>
                <c:pt idx="56">
                  <c:v>725.39827197834825</c:v>
                </c:pt>
                <c:pt idx="57">
                  <c:v>695.83094032708323</c:v>
                </c:pt>
                <c:pt idx="58">
                  <c:v>667.14453217629364</c:v>
                </c:pt>
                <c:pt idx="59">
                  <c:v>639.40531133780212</c:v>
                </c:pt>
                <c:pt idx="60">
                  <c:v>612.5748577898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1.5386658376153</c:v>
                </c:pt>
                <c:pt idx="32">
                  <c:v>1500.1887729458856</c:v>
                </c:pt>
                <c:pt idx="33">
                  <c:v>1470.1483655988056</c:v>
                </c:pt>
                <c:pt idx="34">
                  <c:v>1442.2467855418952</c:v>
                </c:pt>
                <c:pt idx="35">
                  <c:v>1416.2613467966798</c:v>
                </c:pt>
                <c:pt idx="36">
                  <c:v>1391.7296455071655</c:v>
                </c:pt>
                <c:pt idx="37">
                  <c:v>1368.4703481516135</c:v>
                </c:pt>
                <c:pt idx="38">
                  <c:v>1346.7968084630513</c:v>
                </c:pt>
                <c:pt idx="39">
                  <c:v>1325.6980801508812</c:v>
                </c:pt>
                <c:pt idx="40">
                  <c:v>1304.7063045381192</c:v>
                </c:pt>
                <c:pt idx="41">
                  <c:v>1284.1491915546394</c:v>
                </c:pt>
                <c:pt idx="42">
                  <c:v>1263.4973490472935</c:v>
                </c:pt>
                <c:pt idx="43">
                  <c:v>1242.4606938509155</c:v>
                </c:pt>
                <c:pt idx="44">
                  <c:v>1220.9944300601505</c:v>
                </c:pt>
                <c:pt idx="45">
                  <c:v>1199.195466714363</c:v>
                </c:pt>
                <c:pt idx="46">
                  <c:v>1177.2076642874563</c:v>
                </c:pt>
                <c:pt idx="47">
                  <c:v>1155.0388319036074</c:v>
                </c:pt>
                <c:pt idx="48">
                  <c:v>1132.5854717838488</c:v>
                </c:pt>
                <c:pt idx="49">
                  <c:v>1109.7891291041774</c:v>
                </c:pt>
                <c:pt idx="50">
                  <c:v>1086.8311280656749</c:v>
                </c:pt>
                <c:pt idx="51">
                  <c:v>1063.7889384182624</c:v>
                </c:pt>
                <c:pt idx="52">
                  <c:v>1040.8789051430983</c:v>
                </c:pt>
                <c:pt idx="53">
                  <c:v>1017.8437217519023</c:v>
                </c:pt>
                <c:pt idx="54">
                  <c:v>994.77991630954443</c:v>
                </c:pt>
                <c:pt idx="55">
                  <c:v>971.80888023787998</c:v>
                </c:pt>
                <c:pt idx="56">
                  <c:v>949.03548955262227</c:v>
                </c:pt>
                <c:pt idx="57">
                  <c:v>926.55647205745674</c:v>
                </c:pt>
                <c:pt idx="58">
                  <c:v>904.36125783888269</c:v>
                </c:pt>
                <c:pt idx="59">
                  <c:v>882.51795593194993</c:v>
                </c:pt>
                <c:pt idx="60">
                  <c:v>860.99986268477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2.8581918826821</c:v>
                </c:pt>
                <c:pt idx="32">
                  <c:v>1504.0064992243281</c:v>
                </c:pt>
                <c:pt idx="33">
                  <c:v>1477.3998226745871</c:v>
                </c:pt>
                <c:pt idx="34">
                  <c:v>1453.6935129633644</c:v>
                </c:pt>
                <c:pt idx="35">
                  <c:v>1432.8378993938995</c:v>
                </c:pt>
                <c:pt idx="36">
                  <c:v>1414.5300961180217</c:v>
                </c:pt>
                <c:pt idx="37">
                  <c:v>1398.7214281344327</c:v>
                </c:pt>
                <c:pt idx="38">
                  <c:v>1385.7819034477932</c:v>
                </c:pt>
                <c:pt idx="39">
                  <c:v>1374.502306905232</c:v>
                </c:pt>
                <c:pt idx="40">
                  <c:v>1364.2453775160536</c:v>
                </c:pt>
                <c:pt idx="41">
                  <c:v>1355.3028614970808</c:v>
                </c:pt>
                <c:pt idx="42">
                  <c:v>1347.1253372823521</c:v>
                </c:pt>
                <c:pt idx="43">
                  <c:v>1339.3578031170907</c:v>
                </c:pt>
                <c:pt idx="44">
                  <c:v>1331.8237083445381</c:v>
                </c:pt>
                <c:pt idx="45">
                  <c:v>1324.4852904659108</c:v>
                </c:pt>
                <c:pt idx="46">
                  <c:v>1317.3350333755479</c:v>
                </c:pt>
                <c:pt idx="47">
                  <c:v>1310.2820339410723</c:v>
                </c:pt>
                <c:pt idx="48">
                  <c:v>1303.1574285782322</c:v>
                </c:pt>
                <c:pt idx="49">
                  <c:v>1295.8427422789994</c:v>
                </c:pt>
                <c:pt idx="50">
                  <c:v>1288.4229319450781</c:v>
                </c:pt>
                <c:pt idx="51">
                  <c:v>1280.8802704087643</c:v>
                </c:pt>
                <c:pt idx="52">
                  <c:v>1273.3506552378381</c:v>
                </c:pt>
                <c:pt idx="53">
                  <c:v>1265.5195836787725</c:v>
                </c:pt>
                <c:pt idx="54">
                  <c:v>1257.4464272439079</c:v>
                </c:pt>
                <c:pt idx="55">
                  <c:v>1249.2173097339878</c:v>
                </c:pt>
                <c:pt idx="56">
                  <c:v>1240.8989954278663</c:v>
                </c:pt>
                <c:pt idx="57">
                  <c:v>1232.5484583457223</c:v>
                </c:pt>
                <c:pt idx="58">
                  <c:v>1224.1298886776738</c:v>
                </c:pt>
                <c:pt idx="59">
                  <c:v>1215.6914310179739</c:v>
                </c:pt>
                <c:pt idx="60">
                  <c:v>1207.192776591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534.8416304032537</c:v>
                </c:pt>
                <c:pt idx="32">
                  <c:v>1509.736429803957</c:v>
                </c:pt>
                <c:pt idx="33">
                  <c:v>1488.2722183191868</c:v>
                </c:pt>
                <c:pt idx="34">
                  <c:v>1470.8504104366982</c:v>
                </c:pt>
                <c:pt idx="35">
                  <c:v>1457.8024957687592</c:v>
                </c:pt>
                <c:pt idx="36">
                  <c:v>1449.1851362937819</c:v>
                </c:pt>
                <c:pt idx="37">
                  <c:v>1445.2288908025889</c:v>
                </c:pt>
                <c:pt idx="38">
                  <c:v>1446.4633988020164</c:v>
                </c:pt>
                <c:pt idx="39">
                  <c:v>1451.3624584046022</c:v>
                </c:pt>
                <c:pt idx="40">
                  <c:v>1459.113509871105</c:v>
                </c:pt>
                <c:pt idx="41">
                  <c:v>1470.0672214945746</c:v>
                </c:pt>
                <c:pt idx="42">
                  <c:v>1483.8057833443211</c:v>
                </c:pt>
                <c:pt idx="43">
                  <c:v>1499.9433422500406</c:v>
                </c:pt>
                <c:pt idx="44">
                  <c:v>1518.1615030078442</c:v>
                </c:pt>
                <c:pt idx="45">
                  <c:v>1538.2557829955458</c:v>
                </c:pt>
                <c:pt idx="46">
                  <c:v>1560.0363575757619</c:v>
                </c:pt>
                <c:pt idx="47">
                  <c:v>1583.3547108181265</c:v>
                </c:pt>
                <c:pt idx="48">
                  <c:v>1608.0332985019004</c:v>
                </c:pt>
                <c:pt idx="49">
                  <c:v>1633.9073550244389</c:v>
                </c:pt>
                <c:pt idx="50">
                  <c:v>1660.9422278721463</c:v>
                </c:pt>
                <c:pt idx="51">
                  <c:v>1688.9930033978853</c:v>
                </c:pt>
                <c:pt idx="52">
                  <c:v>1718.0885239862162</c:v>
                </c:pt>
                <c:pt idx="53">
                  <c:v>1747.8705787990573</c:v>
                </c:pt>
                <c:pt idx="54">
                  <c:v>1778.3846811646604</c:v>
                </c:pt>
                <c:pt idx="55">
                  <c:v>1809.6872030877594</c:v>
                </c:pt>
                <c:pt idx="56">
                  <c:v>1841.7792540753101</c:v>
                </c:pt>
                <c:pt idx="57">
                  <c:v>1874.6517908532855</c:v>
                </c:pt>
                <c:pt idx="58">
                  <c:v>1908.2268754269194</c:v>
                </c:pt>
                <c:pt idx="59">
                  <c:v>1942.5506328371134</c:v>
                </c:pt>
                <c:pt idx="60">
                  <c:v>1977.5789343409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10</c:v>
                </c:pt>
                <c:pt idx="1">
                  <c:v>1210</c:v>
                </c:pt>
                <c:pt idx="2">
                  <c:v>1210</c:v>
                </c:pt>
                <c:pt idx="3">
                  <c:v>1210</c:v>
                </c:pt>
                <c:pt idx="4">
                  <c:v>1210</c:v>
                </c:pt>
                <c:pt idx="5">
                  <c:v>1210</c:v>
                </c:pt>
                <c:pt idx="6">
                  <c:v>1210</c:v>
                </c:pt>
                <c:pt idx="7">
                  <c:v>1210</c:v>
                </c:pt>
                <c:pt idx="8">
                  <c:v>1210</c:v>
                </c:pt>
                <c:pt idx="9">
                  <c:v>1210</c:v>
                </c:pt>
                <c:pt idx="10">
                  <c:v>1210</c:v>
                </c:pt>
                <c:pt idx="11">
                  <c:v>1210</c:v>
                </c:pt>
                <c:pt idx="12">
                  <c:v>1210</c:v>
                </c:pt>
                <c:pt idx="13">
                  <c:v>1210</c:v>
                </c:pt>
                <c:pt idx="14">
                  <c:v>1210</c:v>
                </c:pt>
                <c:pt idx="15">
                  <c:v>1210</c:v>
                </c:pt>
                <c:pt idx="16">
                  <c:v>1210</c:v>
                </c:pt>
                <c:pt idx="17">
                  <c:v>1210</c:v>
                </c:pt>
                <c:pt idx="18">
                  <c:v>1210</c:v>
                </c:pt>
                <c:pt idx="19">
                  <c:v>1210</c:v>
                </c:pt>
                <c:pt idx="20">
                  <c:v>1210</c:v>
                </c:pt>
                <c:pt idx="21">
                  <c:v>1210</c:v>
                </c:pt>
                <c:pt idx="22">
                  <c:v>1210</c:v>
                </c:pt>
                <c:pt idx="23">
                  <c:v>1210</c:v>
                </c:pt>
                <c:pt idx="24">
                  <c:v>1210</c:v>
                </c:pt>
                <c:pt idx="25">
                  <c:v>1210</c:v>
                </c:pt>
                <c:pt idx="26">
                  <c:v>1210</c:v>
                </c:pt>
                <c:pt idx="27">
                  <c:v>1210</c:v>
                </c:pt>
                <c:pt idx="28">
                  <c:v>1210</c:v>
                </c:pt>
                <c:pt idx="29">
                  <c:v>1210</c:v>
                </c:pt>
                <c:pt idx="30">
                  <c:v>1210</c:v>
                </c:pt>
                <c:pt idx="31">
                  <c:v>1210</c:v>
                </c:pt>
                <c:pt idx="32">
                  <c:v>1210</c:v>
                </c:pt>
                <c:pt idx="33">
                  <c:v>1210</c:v>
                </c:pt>
                <c:pt idx="34">
                  <c:v>1210</c:v>
                </c:pt>
                <c:pt idx="35">
                  <c:v>1210</c:v>
                </c:pt>
                <c:pt idx="36">
                  <c:v>1210</c:v>
                </c:pt>
                <c:pt idx="37">
                  <c:v>1210</c:v>
                </c:pt>
                <c:pt idx="38">
                  <c:v>1210</c:v>
                </c:pt>
                <c:pt idx="39">
                  <c:v>1210</c:v>
                </c:pt>
                <c:pt idx="40">
                  <c:v>1210</c:v>
                </c:pt>
                <c:pt idx="41">
                  <c:v>1210</c:v>
                </c:pt>
                <c:pt idx="42">
                  <c:v>1210</c:v>
                </c:pt>
                <c:pt idx="43">
                  <c:v>1210</c:v>
                </c:pt>
                <c:pt idx="44">
                  <c:v>1210</c:v>
                </c:pt>
                <c:pt idx="45">
                  <c:v>1210</c:v>
                </c:pt>
                <c:pt idx="46">
                  <c:v>1210</c:v>
                </c:pt>
                <c:pt idx="47">
                  <c:v>1210</c:v>
                </c:pt>
                <c:pt idx="48">
                  <c:v>1210</c:v>
                </c:pt>
                <c:pt idx="49">
                  <c:v>1210</c:v>
                </c:pt>
                <c:pt idx="50">
                  <c:v>1210</c:v>
                </c:pt>
                <c:pt idx="51">
                  <c:v>1210</c:v>
                </c:pt>
                <c:pt idx="52">
                  <c:v>1210</c:v>
                </c:pt>
                <c:pt idx="53">
                  <c:v>1210</c:v>
                </c:pt>
                <c:pt idx="54">
                  <c:v>1210</c:v>
                </c:pt>
                <c:pt idx="55">
                  <c:v>1210</c:v>
                </c:pt>
                <c:pt idx="56">
                  <c:v>1210</c:v>
                </c:pt>
                <c:pt idx="57">
                  <c:v>1210</c:v>
                </c:pt>
                <c:pt idx="58">
                  <c:v>1210</c:v>
                </c:pt>
                <c:pt idx="59">
                  <c:v>1210</c:v>
                </c:pt>
                <c:pt idx="60">
                  <c:v>12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0</c:v>
                </c:pt>
                <c:pt idx="1">
                  <c:v>75</c:v>
                </c:pt>
                <c:pt idx="2">
                  <c:v>74</c:v>
                </c:pt>
                <c:pt idx="3">
                  <c:v>78</c:v>
                </c:pt>
                <c:pt idx="4">
                  <c:v>73</c:v>
                </c:pt>
                <c:pt idx="5">
                  <c:v>75</c:v>
                </c:pt>
                <c:pt idx="6">
                  <c:v>72</c:v>
                </c:pt>
                <c:pt idx="7">
                  <c:v>71</c:v>
                </c:pt>
                <c:pt idx="8">
                  <c:v>75</c:v>
                </c:pt>
                <c:pt idx="9">
                  <c:v>73</c:v>
                </c:pt>
                <c:pt idx="10">
                  <c:v>73</c:v>
                </c:pt>
                <c:pt idx="11">
                  <c:v>74</c:v>
                </c:pt>
                <c:pt idx="12">
                  <c:v>70</c:v>
                </c:pt>
                <c:pt idx="13">
                  <c:v>71</c:v>
                </c:pt>
                <c:pt idx="14">
                  <c:v>80</c:v>
                </c:pt>
                <c:pt idx="15">
                  <c:v>74</c:v>
                </c:pt>
                <c:pt idx="16">
                  <c:v>69</c:v>
                </c:pt>
                <c:pt idx="17">
                  <c:v>66</c:v>
                </c:pt>
                <c:pt idx="18">
                  <c:v>66</c:v>
                </c:pt>
                <c:pt idx="19">
                  <c:v>62</c:v>
                </c:pt>
                <c:pt idx="20">
                  <c:v>66</c:v>
                </c:pt>
                <c:pt idx="21">
                  <c:v>63</c:v>
                </c:pt>
                <c:pt idx="22">
                  <c:v>58</c:v>
                </c:pt>
                <c:pt idx="23">
                  <c:v>63</c:v>
                </c:pt>
                <c:pt idx="24">
                  <c:v>63</c:v>
                </c:pt>
                <c:pt idx="25">
                  <c:v>65</c:v>
                </c:pt>
                <c:pt idx="26">
                  <c:v>58</c:v>
                </c:pt>
                <c:pt idx="27">
                  <c:v>57</c:v>
                </c:pt>
                <c:pt idx="28">
                  <c:v>64</c:v>
                </c:pt>
                <c:pt idx="29">
                  <c:v>66</c:v>
                </c:pt>
                <c:pt idx="30">
                  <c:v>66</c:v>
                </c:pt>
                <c:pt idx="31">
                  <c:v>59</c:v>
                </c:pt>
                <c:pt idx="32">
                  <c:v>61</c:v>
                </c:pt>
                <c:pt idx="33">
                  <c:v>63</c:v>
                </c:pt>
                <c:pt idx="34">
                  <c:v>62</c:v>
                </c:pt>
                <c:pt idx="35">
                  <c:v>62</c:v>
                </c:pt>
                <c:pt idx="36">
                  <c:v>58</c:v>
                </c:pt>
                <c:pt idx="37">
                  <c:v>53</c:v>
                </c:pt>
                <c:pt idx="38">
                  <c:v>55</c:v>
                </c:pt>
                <c:pt idx="39">
                  <c:v>48</c:v>
                </c:pt>
                <c:pt idx="40">
                  <c:v>50</c:v>
                </c:pt>
                <c:pt idx="41">
                  <c:v>47</c:v>
                </c:pt>
                <c:pt idx="42">
                  <c:v>51</c:v>
                </c:pt>
                <c:pt idx="43">
                  <c:v>49</c:v>
                </c:pt>
                <c:pt idx="44">
                  <c:v>50</c:v>
                </c:pt>
                <c:pt idx="45">
                  <c:v>46</c:v>
                </c:pt>
                <c:pt idx="46">
                  <c:v>39</c:v>
                </c:pt>
                <c:pt idx="47">
                  <c:v>37</c:v>
                </c:pt>
                <c:pt idx="48">
                  <c:v>37</c:v>
                </c:pt>
                <c:pt idx="49">
                  <c:v>38</c:v>
                </c:pt>
                <c:pt idx="50">
                  <c:v>36</c:v>
                </c:pt>
                <c:pt idx="51">
                  <c:v>34</c:v>
                </c:pt>
                <c:pt idx="52">
                  <c:v>27</c:v>
                </c:pt>
                <c:pt idx="53">
                  <c:v>2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62.265439786109773</c:v>
                </c:pt>
                <c:pt idx="32">
                  <c:v>60.855833362677345</c:v>
                </c:pt>
                <c:pt idx="33">
                  <c:v>59.463366296940677</c:v>
                </c:pt>
                <c:pt idx="34">
                  <c:v>58.133243036138964</c:v>
                </c:pt>
                <c:pt idx="35">
                  <c:v>56.851111960129487</c:v>
                </c:pt>
                <c:pt idx="36">
                  <c:v>55.589830049659327</c:v>
                </c:pt>
                <c:pt idx="37">
                  <c:v>54.34668700219779</c:v>
                </c:pt>
                <c:pt idx="38">
                  <c:v>53.126453482344431</c:v>
                </c:pt>
                <c:pt idx="39">
                  <c:v>51.895832014585523</c:v>
                </c:pt>
                <c:pt idx="40">
                  <c:v>50.640861436892123</c:v>
                </c:pt>
                <c:pt idx="41">
                  <c:v>49.384011373998604</c:v>
                </c:pt>
                <c:pt idx="42">
                  <c:v>48.105380459450146</c:v>
                </c:pt>
                <c:pt idx="43">
                  <c:v>46.795609493118079</c:v>
                </c:pt>
                <c:pt idx="44">
                  <c:v>45.457179103083703</c:v>
                </c:pt>
                <c:pt idx="45">
                  <c:v>44.099673421155764</c:v>
                </c:pt>
                <c:pt idx="46">
                  <c:v>42.737841366006776</c:v>
                </c:pt>
                <c:pt idx="47">
                  <c:v>41.374855353264252</c:v>
                </c:pt>
                <c:pt idx="48">
                  <c:v>40.008055240664987</c:v>
                </c:pt>
                <c:pt idx="49">
                  <c:v>38.639023515085896</c:v>
                </c:pt>
                <c:pt idx="50">
                  <c:v>37.278124793950283</c:v>
                </c:pt>
                <c:pt idx="51">
                  <c:v>35.930549757744174</c:v>
                </c:pt>
                <c:pt idx="52">
                  <c:v>34.608378878469658</c:v>
                </c:pt>
                <c:pt idx="53">
                  <c:v>33.302570358808659</c:v>
                </c:pt>
                <c:pt idx="54">
                  <c:v>32.019216751657275</c:v>
                </c:pt>
                <c:pt idx="55">
                  <c:v>30.762188623326331</c:v>
                </c:pt>
                <c:pt idx="56">
                  <c:v>29.535803268671476</c:v>
                </c:pt>
                <c:pt idx="57">
                  <c:v>28.344940779949169</c:v>
                </c:pt>
                <c:pt idx="58">
                  <c:v>27.190175569914846</c:v>
                </c:pt>
                <c:pt idx="59">
                  <c:v>26.074296371625838</c:v>
                </c:pt>
                <c:pt idx="60">
                  <c:v>24.995756509146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62.317411608528516</c:v>
                </c:pt>
                <c:pt idx="32">
                  <c:v>61.005948505358965</c:v>
                </c:pt>
                <c:pt idx="33">
                  <c:v>59.748557320566945</c:v>
                </c:pt>
                <c:pt idx="34">
                  <c:v>58.583707341874131</c:v>
                </c:pt>
                <c:pt idx="35">
                  <c:v>57.501148566076765</c:v>
                </c:pt>
                <c:pt idx="36">
                  <c:v>56.478362068881204</c:v>
                </c:pt>
                <c:pt idx="37">
                  <c:v>55.516107828352766</c:v>
                </c:pt>
                <c:pt idx="38">
                  <c:v>54.620007708604199</c:v>
                </c:pt>
                <c:pt idx="39">
                  <c:v>53.748719093801682</c:v>
                </c:pt>
                <c:pt idx="40">
                  <c:v>52.881430458386433</c:v>
                </c:pt>
                <c:pt idx="41">
                  <c:v>52.037359356637438</c:v>
                </c:pt>
                <c:pt idx="42">
                  <c:v>51.193143393424975</c:v>
                </c:pt>
                <c:pt idx="43">
                  <c:v>50.334914151603854</c:v>
                </c:pt>
                <c:pt idx="44">
                  <c:v>49.460087960355942</c:v>
                </c:pt>
                <c:pt idx="45">
                  <c:v>48.572749625371237</c:v>
                </c:pt>
                <c:pt idx="46">
                  <c:v>47.681123268544091</c:v>
                </c:pt>
                <c:pt idx="47">
                  <c:v>46.784039931029213</c:v>
                </c:pt>
                <c:pt idx="48">
                  <c:v>45.875472010599715</c:v>
                </c:pt>
                <c:pt idx="49">
                  <c:v>44.954310565920608</c:v>
                </c:pt>
                <c:pt idx="50">
                  <c:v>44.02811831120313</c:v>
                </c:pt>
                <c:pt idx="51">
                  <c:v>43.098757529892481</c:v>
                </c:pt>
                <c:pt idx="52">
                  <c:v>42.17558617653431</c:v>
                </c:pt>
                <c:pt idx="53">
                  <c:v>41.247621280536507</c:v>
                </c:pt>
                <c:pt idx="54">
                  <c:v>40.320083125451021</c:v>
                </c:pt>
                <c:pt idx="55">
                  <c:v>39.396259064522596</c:v>
                </c:pt>
                <c:pt idx="56">
                  <c:v>38.479641979563496</c:v>
                </c:pt>
                <c:pt idx="57">
                  <c:v>37.57470463073912</c:v>
                </c:pt>
                <c:pt idx="58">
                  <c:v>36.681955313256879</c:v>
                </c:pt>
                <c:pt idx="59">
                  <c:v>35.80421415448307</c:v>
                </c:pt>
                <c:pt idx="60">
                  <c:v>34.940373419833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62.369383430947266</c:v>
                </c:pt>
                <c:pt idx="32">
                  <c:v>61.156227081444428</c:v>
                </c:pt>
                <c:pt idx="33">
                  <c:v>60.03428824467116</c:v>
                </c:pt>
                <c:pt idx="34">
                  <c:v>59.035006832874018</c:v>
                </c:pt>
                <c:pt idx="35">
                  <c:v>58.15494314780409</c:v>
                </c:pt>
                <c:pt idx="36">
                  <c:v>57.37831367880122</c:v>
                </c:pt>
                <c:pt idx="37">
                  <c:v>56.711410464528896</c:v>
                </c:pt>
                <c:pt idx="38">
                  <c:v>56.162114455030348</c:v>
                </c:pt>
                <c:pt idx="39">
                  <c:v>55.681190048671681</c:v>
                </c:pt>
                <c:pt idx="40">
                  <c:v>55.241267604368758</c:v>
                </c:pt>
                <c:pt idx="41">
                  <c:v>54.860154737804912</c:v>
                </c:pt>
                <c:pt idx="42">
                  <c:v>54.513472606214066</c:v>
                </c:pt>
                <c:pt idx="43">
                  <c:v>54.184857630080053</c:v>
                </c:pt>
                <c:pt idx="44">
                  <c:v>53.8665744660358</c:v>
                </c:pt>
                <c:pt idx="45">
                  <c:v>53.557338263354666</c:v>
                </c:pt>
                <c:pt idx="46">
                  <c:v>53.259237467561448</c:v>
                </c:pt>
                <c:pt idx="47">
                  <c:v>52.967101357303449</c:v>
                </c:pt>
                <c:pt idx="48">
                  <c:v>52.672271877775131</c:v>
                </c:pt>
                <c:pt idx="49">
                  <c:v>52.371227430921039</c:v>
                </c:pt>
                <c:pt idx="50">
                  <c:v>52.067670505342413</c:v>
                </c:pt>
                <c:pt idx="51">
                  <c:v>51.759651962637975</c:v>
                </c:pt>
                <c:pt idx="52">
                  <c:v>51.453297176806977</c:v>
                </c:pt>
                <c:pt idx="53">
                  <c:v>51.135306365176987</c:v>
                </c:pt>
                <c:pt idx="54">
                  <c:v>50.809357631738877</c:v>
                </c:pt>
                <c:pt idx="55">
                  <c:v>50.477259932662278</c:v>
                </c:pt>
                <c:pt idx="56">
                  <c:v>50.140985585390879</c:v>
                </c:pt>
                <c:pt idx="57">
                  <c:v>49.803426839800579</c:v>
                </c:pt>
                <c:pt idx="58">
                  <c:v>49.464053198137421</c:v>
                </c:pt>
                <c:pt idx="59">
                  <c:v>49.124836248435578</c:v>
                </c:pt>
                <c:pt idx="60">
                  <c:v>48.784092449461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62.447504597979218</c:v>
                </c:pt>
                <c:pt idx="32">
                  <c:v>61.381776262540981</c:v>
                </c:pt>
                <c:pt idx="33">
                  <c:v>60.462696931705018</c:v>
                </c:pt>
                <c:pt idx="34">
                  <c:v>59.711437214871339</c:v>
                </c:pt>
                <c:pt idx="35">
                  <c:v>59.139563787372296</c:v>
                </c:pt>
                <c:pt idx="36">
                  <c:v>58.746128685926891</c:v>
                </c:pt>
                <c:pt idx="37">
                  <c:v>58.548906066122697</c:v>
                </c:pt>
                <c:pt idx="38">
                  <c:v>58.562118313767925</c:v>
                </c:pt>
                <c:pt idx="39">
                  <c:v>58.723927695725948</c:v>
                </c:pt>
                <c:pt idx="40">
                  <c:v>59.000294734784887</c:v>
                </c:pt>
                <c:pt idx="41">
                  <c:v>59.411413285071767</c:v>
                </c:pt>
                <c:pt idx="42">
                  <c:v>59.937836004994054</c:v>
                </c:pt>
                <c:pt idx="43">
                  <c:v>60.56215298420743</c:v>
                </c:pt>
                <c:pt idx="44">
                  <c:v>61.271161098055018</c:v>
                </c:pt>
                <c:pt idx="45">
                  <c:v>62.056951779069962</c:v>
                </c:pt>
                <c:pt idx="46">
                  <c:v>62.91422149104708</c:v>
                </c:pt>
                <c:pt idx="47">
                  <c:v>63.83543209006389</c:v>
                </c:pt>
                <c:pt idx="48">
                  <c:v>64.811558578439744</c:v>
                </c:pt>
                <c:pt idx="49">
                  <c:v>65.837241977326485</c:v>
                </c:pt>
                <c:pt idx="50">
                  <c:v>66.911431565430547</c:v>
                </c:pt>
                <c:pt idx="51">
                  <c:v>68.027098272601819</c:v>
                </c:pt>
                <c:pt idx="52">
                  <c:v>69.186081315228989</c:v>
                </c:pt>
                <c:pt idx="53">
                  <c:v>70.373293776845344</c:v>
                </c:pt>
                <c:pt idx="54">
                  <c:v>71.591787156373698</c:v>
                </c:pt>
                <c:pt idx="55">
                  <c:v>72.842099099286585</c:v>
                </c:pt>
                <c:pt idx="56">
                  <c:v>74.123611673681125</c:v>
                </c:pt>
                <c:pt idx="57">
                  <c:v>75.436607439107206</c:v>
                </c:pt>
                <c:pt idx="58">
                  <c:v>76.778832639967888</c:v>
                </c:pt>
                <c:pt idx="59">
                  <c:v>78.152094643533118</c:v>
                </c:pt>
                <c:pt idx="60">
                  <c:v>79.554511294842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6</c:v>
                </c:pt>
                <c:pt idx="1">
                  <c:v>46</c:v>
                </c:pt>
                <c:pt idx="2">
                  <c:v>46</c:v>
                </c:pt>
                <c:pt idx="3">
                  <c:v>46</c:v>
                </c:pt>
                <c:pt idx="4">
                  <c:v>46</c:v>
                </c:pt>
                <c:pt idx="5">
                  <c:v>46</c:v>
                </c:pt>
                <c:pt idx="6">
                  <c:v>46</c:v>
                </c:pt>
                <c:pt idx="7">
                  <c:v>46</c:v>
                </c:pt>
                <c:pt idx="8">
                  <c:v>46</c:v>
                </c:pt>
                <c:pt idx="9">
                  <c:v>46</c:v>
                </c:pt>
                <c:pt idx="10">
                  <c:v>46</c:v>
                </c:pt>
                <c:pt idx="11">
                  <c:v>46</c:v>
                </c:pt>
                <c:pt idx="12">
                  <c:v>46</c:v>
                </c:pt>
                <c:pt idx="13">
                  <c:v>46</c:v>
                </c:pt>
                <c:pt idx="14">
                  <c:v>46</c:v>
                </c:pt>
                <c:pt idx="15">
                  <c:v>46</c:v>
                </c:pt>
                <c:pt idx="16">
                  <c:v>46</c:v>
                </c:pt>
                <c:pt idx="17">
                  <c:v>46</c:v>
                </c:pt>
                <c:pt idx="18">
                  <c:v>46</c:v>
                </c:pt>
                <c:pt idx="19">
                  <c:v>46</c:v>
                </c:pt>
                <c:pt idx="20">
                  <c:v>46</c:v>
                </c:pt>
                <c:pt idx="21">
                  <c:v>46</c:v>
                </c:pt>
                <c:pt idx="22">
                  <c:v>46</c:v>
                </c:pt>
                <c:pt idx="23">
                  <c:v>46</c:v>
                </c:pt>
                <c:pt idx="24">
                  <c:v>46</c:v>
                </c:pt>
                <c:pt idx="25">
                  <c:v>46</c:v>
                </c:pt>
                <c:pt idx="26">
                  <c:v>46</c:v>
                </c:pt>
                <c:pt idx="27">
                  <c:v>46</c:v>
                </c:pt>
                <c:pt idx="28">
                  <c:v>46</c:v>
                </c:pt>
                <c:pt idx="29">
                  <c:v>46</c:v>
                </c:pt>
                <c:pt idx="30">
                  <c:v>46</c:v>
                </c:pt>
                <c:pt idx="31">
                  <c:v>46</c:v>
                </c:pt>
                <c:pt idx="32">
                  <c:v>46</c:v>
                </c:pt>
                <c:pt idx="33">
                  <c:v>46</c:v>
                </c:pt>
                <c:pt idx="34">
                  <c:v>46</c:v>
                </c:pt>
                <c:pt idx="35">
                  <c:v>46</c:v>
                </c:pt>
                <c:pt idx="36">
                  <c:v>46</c:v>
                </c:pt>
                <c:pt idx="37">
                  <c:v>46</c:v>
                </c:pt>
                <c:pt idx="38">
                  <c:v>46</c:v>
                </c:pt>
                <c:pt idx="39">
                  <c:v>46</c:v>
                </c:pt>
                <c:pt idx="40">
                  <c:v>46</c:v>
                </c:pt>
                <c:pt idx="41">
                  <c:v>46</c:v>
                </c:pt>
                <c:pt idx="42">
                  <c:v>46</c:v>
                </c:pt>
                <c:pt idx="43">
                  <c:v>46</c:v>
                </c:pt>
                <c:pt idx="44">
                  <c:v>46</c:v>
                </c:pt>
                <c:pt idx="45">
                  <c:v>46</c:v>
                </c:pt>
                <c:pt idx="46">
                  <c:v>46</c:v>
                </c:pt>
                <c:pt idx="47">
                  <c:v>46</c:v>
                </c:pt>
                <c:pt idx="48">
                  <c:v>46</c:v>
                </c:pt>
                <c:pt idx="49">
                  <c:v>46</c:v>
                </c:pt>
                <c:pt idx="50">
                  <c:v>46</c:v>
                </c:pt>
                <c:pt idx="51">
                  <c:v>46</c:v>
                </c:pt>
                <c:pt idx="52">
                  <c:v>46</c:v>
                </c:pt>
                <c:pt idx="53">
                  <c:v>46</c:v>
                </c:pt>
                <c:pt idx="54">
                  <c:v>46</c:v>
                </c:pt>
                <c:pt idx="55">
                  <c:v>46</c:v>
                </c:pt>
                <c:pt idx="56">
                  <c:v>46</c:v>
                </c:pt>
                <c:pt idx="57">
                  <c:v>46</c:v>
                </c:pt>
                <c:pt idx="58">
                  <c:v>46</c:v>
                </c:pt>
                <c:pt idx="59">
                  <c:v>46</c:v>
                </c:pt>
                <c:pt idx="60">
                  <c:v>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1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6</c:v>
                </c:pt>
                <c:pt idx="1">
                  <c:v>41</c:v>
                </c:pt>
                <c:pt idx="2">
                  <c:v>38</c:v>
                </c:pt>
                <c:pt idx="3">
                  <c:v>43</c:v>
                </c:pt>
                <c:pt idx="4">
                  <c:v>41</c:v>
                </c:pt>
                <c:pt idx="5">
                  <c:v>40</c:v>
                </c:pt>
                <c:pt idx="6">
                  <c:v>38</c:v>
                </c:pt>
                <c:pt idx="7">
                  <c:v>52</c:v>
                </c:pt>
                <c:pt idx="8">
                  <c:v>48</c:v>
                </c:pt>
                <c:pt idx="9">
                  <c:v>50</c:v>
                </c:pt>
                <c:pt idx="10">
                  <c:v>45</c:v>
                </c:pt>
                <c:pt idx="11">
                  <c:v>44</c:v>
                </c:pt>
                <c:pt idx="12">
                  <c:v>41</c:v>
                </c:pt>
                <c:pt idx="13">
                  <c:v>40</c:v>
                </c:pt>
                <c:pt idx="14">
                  <c:v>44</c:v>
                </c:pt>
                <c:pt idx="15">
                  <c:v>47</c:v>
                </c:pt>
                <c:pt idx="16">
                  <c:v>47</c:v>
                </c:pt>
                <c:pt idx="17">
                  <c:v>51</c:v>
                </c:pt>
                <c:pt idx="18">
                  <c:v>49</c:v>
                </c:pt>
                <c:pt idx="19">
                  <c:v>45</c:v>
                </c:pt>
                <c:pt idx="20">
                  <c:v>47</c:v>
                </c:pt>
                <c:pt idx="21">
                  <c:v>45</c:v>
                </c:pt>
                <c:pt idx="22">
                  <c:v>43</c:v>
                </c:pt>
                <c:pt idx="23">
                  <c:v>43</c:v>
                </c:pt>
                <c:pt idx="24">
                  <c:v>43</c:v>
                </c:pt>
                <c:pt idx="25">
                  <c:v>35</c:v>
                </c:pt>
                <c:pt idx="26">
                  <c:v>38</c:v>
                </c:pt>
                <c:pt idx="27">
                  <c:v>36</c:v>
                </c:pt>
                <c:pt idx="28">
                  <c:v>40</c:v>
                </c:pt>
                <c:pt idx="29">
                  <c:v>43</c:v>
                </c:pt>
                <c:pt idx="30">
                  <c:v>36</c:v>
                </c:pt>
                <c:pt idx="31">
                  <c:v>36</c:v>
                </c:pt>
                <c:pt idx="32">
                  <c:v>34</c:v>
                </c:pt>
                <c:pt idx="33">
                  <c:v>30</c:v>
                </c:pt>
                <c:pt idx="34">
                  <c:v>28</c:v>
                </c:pt>
                <c:pt idx="35">
                  <c:v>29</c:v>
                </c:pt>
                <c:pt idx="36">
                  <c:v>32</c:v>
                </c:pt>
                <c:pt idx="37">
                  <c:v>31</c:v>
                </c:pt>
                <c:pt idx="38">
                  <c:v>36</c:v>
                </c:pt>
                <c:pt idx="39">
                  <c:v>32</c:v>
                </c:pt>
                <c:pt idx="40">
                  <c:v>36</c:v>
                </c:pt>
                <c:pt idx="41">
                  <c:v>33</c:v>
                </c:pt>
                <c:pt idx="42">
                  <c:v>33</c:v>
                </c:pt>
                <c:pt idx="43">
                  <c:v>30</c:v>
                </c:pt>
                <c:pt idx="44">
                  <c:v>33</c:v>
                </c:pt>
                <c:pt idx="45">
                  <c:v>34</c:v>
                </c:pt>
                <c:pt idx="46">
                  <c:v>32</c:v>
                </c:pt>
                <c:pt idx="47">
                  <c:v>32</c:v>
                </c:pt>
                <c:pt idx="48">
                  <c:v>33</c:v>
                </c:pt>
                <c:pt idx="49">
                  <c:v>32</c:v>
                </c:pt>
                <c:pt idx="50">
                  <c:v>30</c:v>
                </c:pt>
                <c:pt idx="51">
                  <c:v>31</c:v>
                </c:pt>
                <c:pt idx="52">
                  <c:v>28</c:v>
                </c:pt>
                <c:pt idx="53">
                  <c:v>2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8.62288429027538</c:v>
                </c:pt>
                <c:pt idx="32">
                  <c:v>37.769804680687699</c:v>
                </c:pt>
                <c:pt idx="33">
                  <c:v>36.926240411566781</c:v>
                </c:pt>
                <c:pt idx="34">
                  <c:v>36.117161355650751</c:v>
                </c:pt>
                <c:pt idx="35">
                  <c:v>35.334352478999051</c:v>
                </c:pt>
                <c:pt idx="36">
                  <c:v>34.563615662131241</c:v>
                </c:pt>
                <c:pt idx="37">
                  <c:v>33.798054669238823</c:v>
                </c:pt>
                <c:pt idx="38">
                  <c:v>33.045298648047442</c:v>
                </c:pt>
                <c:pt idx="39">
                  <c:v>32.284942517687732</c:v>
                </c:pt>
                <c:pt idx="40">
                  <c:v>31.509695209943942</c:v>
                </c:pt>
                <c:pt idx="41">
                  <c:v>30.729690333716086</c:v>
                </c:pt>
                <c:pt idx="42">
                  <c:v>29.933672087689175</c:v>
                </c:pt>
                <c:pt idx="43">
                  <c:v>29.117301517175633</c:v>
                </c:pt>
                <c:pt idx="44">
                  <c:v>28.282731055393132</c:v>
                </c:pt>
                <c:pt idx="45">
                  <c:v>27.435872826973309</c:v>
                </c:pt>
                <c:pt idx="46">
                  <c:v>26.584343435040509</c:v>
                </c:pt>
                <c:pt idx="47">
                  <c:v>25.731085860393321</c:v>
                </c:pt>
                <c:pt idx="48">
                  <c:v>24.875657316591468</c:v>
                </c:pt>
                <c:pt idx="49">
                  <c:v>24.018226036956836</c:v>
                </c:pt>
                <c:pt idx="50">
                  <c:v>23.165110235591992</c:v>
                </c:pt>
                <c:pt idx="51">
                  <c:v>22.320401734920608</c:v>
                </c:pt>
                <c:pt idx="52">
                  <c:v>21.491253114144481</c:v>
                </c:pt>
                <c:pt idx="53">
                  <c:v>20.672393179676153</c:v>
                </c:pt>
                <c:pt idx="54">
                  <c:v>19.86672206615097</c:v>
                </c:pt>
                <c:pt idx="55">
                  <c:v>19.077677656633043</c:v>
                </c:pt>
                <c:pt idx="56">
                  <c:v>18.308456723645115</c:v>
                </c:pt>
                <c:pt idx="57">
                  <c:v>17.561742542240953</c:v>
                </c:pt>
                <c:pt idx="58">
                  <c:v>16.837254073726911</c:v>
                </c:pt>
                <c:pt idx="59">
                  <c:v>16.136660565262865</c:v>
                </c:pt>
                <c:pt idx="60">
                  <c:v>15.458991704516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8.656249907225188</c:v>
                </c:pt>
                <c:pt idx="32">
                  <c:v>37.866238163822445</c:v>
                </c:pt>
                <c:pt idx="33">
                  <c:v>37.109250179443357</c:v>
                </c:pt>
                <c:pt idx="34">
                  <c:v>36.40605213059284</c:v>
                </c:pt>
                <c:pt idx="35">
                  <c:v>35.751065308036672</c:v>
                </c:pt>
                <c:pt idx="36">
                  <c:v>35.132749146303937</c:v>
                </c:pt>
                <c:pt idx="37">
                  <c:v>34.546239870158288</c:v>
                </c:pt>
                <c:pt idx="38">
                  <c:v>33.999697858379143</c:v>
                </c:pt>
                <c:pt idx="39">
                  <c:v>33.467614010805271</c:v>
                </c:pt>
                <c:pt idx="40">
                  <c:v>32.938242068163476</c:v>
                </c:pt>
                <c:pt idx="41">
                  <c:v>32.41964607978322</c:v>
                </c:pt>
                <c:pt idx="42">
                  <c:v>31.89852833351879</c:v>
                </c:pt>
                <c:pt idx="43">
                  <c:v>31.367639888585437</c:v>
                </c:pt>
                <c:pt idx="44">
                  <c:v>30.825876915075689</c:v>
                </c:pt>
                <c:pt idx="45">
                  <c:v>30.275680417826806</c:v>
                </c:pt>
                <c:pt idx="46">
                  <c:v>29.720597889811067</c:v>
                </c:pt>
                <c:pt idx="47">
                  <c:v>29.160878843700146</c:v>
                </c:pt>
                <c:pt idx="48">
                  <c:v>28.593975010490688</c:v>
                </c:pt>
                <c:pt idx="49">
                  <c:v>28.018366228146864</c:v>
                </c:pt>
                <c:pt idx="50">
                  <c:v>27.438622632447562</c:v>
                </c:pt>
                <c:pt idx="51">
                  <c:v>26.856745042688715</c:v>
                </c:pt>
                <c:pt idx="52">
                  <c:v>26.278174471470866</c:v>
                </c:pt>
                <c:pt idx="53">
                  <c:v>25.696434562600661</c:v>
                </c:pt>
                <c:pt idx="54">
                  <c:v>25.113916130835683</c:v>
                </c:pt>
                <c:pt idx="55">
                  <c:v>24.533741348526533</c:v>
                </c:pt>
                <c:pt idx="56">
                  <c:v>23.958584602225827</c:v>
                </c:pt>
                <c:pt idx="57">
                  <c:v>23.390868386258305</c:v>
                </c:pt>
                <c:pt idx="58">
                  <c:v>22.830292834881572</c:v>
                </c:pt>
                <c:pt idx="59">
                  <c:v>22.278575308988909</c:v>
                </c:pt>
                <c:pt idx="60">
                  <c:v>21.735042551262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8.689615524174997</c:v>
                </c:pt>
                <c:pt idx="32">
                  <c:v>37.962776570280951</c:v>
                </c:pt>
                <c:pt idx="33">
                  <c:v>37.292606750344689</c:v>
                </c:pt>
                <c:pt idx="34">
                  <c:v>36.695478913079398</c:v>
                </c:pt>
                <c:pt idx="35">
                  <c:v>36.17018937246489</c:v>
                </c:pt>
                <c:pt idx="36">
                  <c:v>35.709215193011488</c:v>
                </c:pt>
                <c:pt idx="37">
                  <c:v>35.311036186043182</c:v>
                </c:pt>
                <c:pt idx="38">
                  <c:v>34.98524431870743</c:v>
                </c:pt>
                <c:pt idx="39">
                  <c:v>34.701320007075076</c:v>
                </c:pt>
                <c:pt idx="40">
                  <c:v>34.443229452684136</c:v>
                </c:pt>
                <c:pt idx="41">
                  <c:v>34.218127093134598</c:v>
                </c:pt>
                <c:pt idx="42">
                  <c:v>34.012216773043669</c:v>
                </c:pt>
                <c:pt idx="43">
                  <c:v>33.816605838694109</c:v>
                </c:pt>
                <c:pt idx="44">
                  <c:v>33.626857571816188</c:v>
                </c:pt>
                <c:pt idx="45">
                  <c:v>33.442009969348611</c:v>
                </c:pt>
                <c:pt idx="46">
                  <c:v>33.261788921082378</c:v>
                </c:pt>
                <c:pt idx="47">
                  <c:v>33.08395190746873</c:v>
                </c:pt>
                <c:pt idx="48">
                  <c:v>32.904299786547526</c:v>
                </c:pt>
                <c:pt idx="49">
                  <c:v>32.719796437483474</c:v>
                </c:pt>
                <c:pt idx="50">
                  <c:v>32.532577524994394</c:v>
                </c:pt>
                <c:pt idx="51">
                  <c:v>32.342238896259865</c:v>
                </c:pt>
                <c:pt idx="52">
                  <c:v>32.152189622438357</c:v>
                </c:pt>
                <c:pt idx="53">
                  <c:v>31.954509336506501</c:v>
                </c:pt>
                <c:pt idx="54">
                  <c:v>31.75065208481973</c:v>
                </c:pt>
                <c:pt idx="55">
                  <c:v>31.542851409209614</c:v>
                </c:pt>
                <c:pt idx="56">
                  <c:v>31.332818686766707</c:v>
                </c:pt>
                <c:pt idx="57">
                  <c:v>31.121971714756878</c:v>
                </c:pt>
                <c:pt idx="58">
                  <c:v>30.90937398477076</c:v>
                </c:pt>
                <c:pt idx="59">
                  <c:v>30.696240228472696</c:v>
                </c:pt>
                <c:pt idx="60">
                  <c:v>30.481554576701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8.739768872923456</c:v>
                </c:pt>
                <c:pt idx="32">
                  <c:v>38.107668674684078</c:v>
                </c:pt>
                <c:pt idx="33">
                  <c:v>37.567520453326779</c:v>
                </c:pt>
                <c:pt idx="34">
                  <c:v>37.1292854429133</c:v>
                </c:pt>
                <c:pt idx="35">
                  <c:v>36.801398222112212</c:v>
                </c:pt>
                <c:pt idx="36">
                  <c:v>36.585403639489627</c:v>
                </c:pt>
                <c:pt idx="37">
                  <c:v>36.486825166992269</c:v>
                </c:pt>
                <c:pt idx="38">
                  <c:v>36.519289317630225</c:v>
                </c:pt>
                <c:pt idx="39">
                  <c:v>36.644265287910628</c:v>
                </c:pt>
                <c:pt idx="40">
                  <c:v>36.841278393982023</c:v>
                </c:pt>
                <c:pt idx="41">
                  <c:v>37.118970672040788</c:v>
                </c:pt>
                <c:pt idx="42">
                  <c:v>37.466882798974815</c:v>
                </c:pt>
                <c:pt idx="43">
                  <c:v>37.875336059547465</c:v>
                </c:pt>
                <c:pt idx="44">
                  <c:v>38.336302850112361</c:v>
                </c:pt>
                <c:pt idx="45">
                  <c:v>38.844607487125408</c:v>
                </c:pt>
                <c:pt idx="46">
                  <c:v>39.395373449405106</c:v>
                </c:pt>
                <c:pt idx="47">
                  <c:v>39.984904879878599</c:v>
                </c:pt>
                <c:pt idx="48">
                  <c:v>40.608784020217485</c:v>
                </c:pt>
                <c:pt idx="49">
                  <c:v>41.262804741409418</c:v>
                </c:pt>
                <c:pt idx="50">
                  <c:v>41.946079744242859</c:v>
                </c:pt>
                <c:pt idx="51">
                  <c:v>42.654991314994142</c:v>
                </c:pt>
                <c:pt idx="52">
                  <c:v>43.390243974513375</c:v>
                </c:pt>
                <c:pt idx="53">
                  <c:v>44.142814463512096</c:v>
                </c:pt>
                <c:pt idx="54">
                  <c:v>44.913809256972613</c:v>
                </c:pt>
                <c:pt idx="55">
                  <c:v>45.704713098000298</c:v>
                </c:pt>
                <c:pt idx="56">
                  <c:v>46.515577365442411</c:v>
                </c:pt>
                <c:pt idx="57">
                  <c:v>47.346150873544929</c:v>
                </c:pt>
                <c:pt idx="58">
                  <c:v>48.19443411294835</c:v>
                </c:pt>
                <c:pt idx="59">
                  <c:v>49.061593733798126</c:v>
                </c:pt>
                <c:pt idx="60">
                  <c:v>49.946518972648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8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9</c:v>
                </c:pt>
                <c:pt idx="1">
                  <c:v>181</c:v>
                </c:pt>
                <c:pt idx="2">
                  <c:v>189</c:v>
                </c:pt>
                <c:pt idx="3">
                  <c:v>193</c:v>
                </c:pt>
                <c:pt idx="4">
                  <c:v>203</c:v>
                </c:pt>
                <c:pt idx="5">
                  <c:v>206</c:v>
                </c:pt>
                <c:pt idx="6">
                  <c:v>212</c:v>
                </c:pt>
                <c:pt idx="7">
                  <c:v>220</c:v>
                </c:pt>
                <c:pt idx="8">
                  <c:v>229</c:v>
                </c:pt>
                <c:pt idx="9">
                  <c:v>235</c:v>
                </c:pt>
                <c:pt idx="10">
                  <c:v>231</c:v>
                </c:pt>
                <c:pt idx="11">
                  <c:v>224</c:v>
                </c:pt>
                <c:pt idx="12">
                  <c:v>222</c:v>
                </c:pt>
                <c:pt idx="13">
                  <c:v>221</c:v>
                </c:pt>
                <c:pt idx="14">
                  <c:v>240</c:v>
                </c:pt>
                <c:pt idx="15">
                  <c:v>232</c:v>
                </c:pt>
                <c:pt idx="16">
                  <c:v>228</c:v>
                </c:pt>
                <c:pt idx="17">
                  <c:v>238</c:v>
                </c:pt>
                <c:pt idx="18">
                  <c:v>232</c:v>
                </c:pt>
                <c:pt idx="19">
                  <c:v>233</c:v>
                </c:pt>
                <c:pt idx="20">
                  <c:v>236</c:v>
                </c:pt>
                <c:pt idx="21">
                  <c:v>242</c:v>
                </c:pt>
                <c:pt idx="22">
                  <c:v>221</c:v>
                </c:pt>
                <c:pt idx="23">
                  <c:v>218</c:v>
                </c:pt>
                <c:pt idx="24">
                  <c:v>222</c:v>
                </c:pt>
                <c:pt idx="25">
                  <c:v>222</c:v>
                </c:pt>
                <c:pt idx="26">
                  <c:v>221</c:v>
                </c:pt>
                <c:pt idx="27">
                  <c:v>217</c:v>
                </c:pt>
                <c:pt idx="28">
                  <c:v>210</c:v>
                </c:pt>
                <c:pt idx="29">
                  <c:v>214</c:v>
                </c:pt>
                <c:pt idx="30">
                  <c:v>210</c:v>
                </c:pt>
                <c:pt idx="31">
                  <c:v>213</c:v>
                </c:pt>
                <c:pt idx="32">
                  <c:v>196</c:v>
                </c:pt>
                <c:pt idx="33">
                  <c:v>185</c:v>
                </c:pt>
                <c:pt idx="34">
                  <c:v>189</c:v>
                </c:pt>
                <c:pt idx="35">
                  <c:v>183</c:v>
                </c:pt>
                <c:pt idx="36">
                  <c:v>195</c:v>
                </c:pt>
                <c:pt idx="37">
                  <c:v>193</c:v>
                </c:pt>
                <c:pt idx="38">
                  <c:v>184</c:v>
                </c:pt>
                <c:pt idx="39">
                  <c:v>170</c:v>
                </c:pt>
                <c:pt idx="40">
                  <c:v>172</c:v>
                </c:pt>
                <c:pt idx="41">
                  <c:v>168</c:v>
                </c:pt>
                <c:pt idx="42">
                  <c:v>161</c:v>
                </c:pt>
                <c:pt idx="43">
                  <c:v>149</c:v>
                </c:pt>
                <c:pt idx="44">
                  <c:v>140</c:v>
                </c:pt>
                <c:pt idx="45">
                  <c:v>134</c:v>
                </c:pt>
                <c:pt idx="46">
                  <c:v>133</c:v>
                </c:pt>
                <c:pt idx="47">
                  <c:v>136</c:v>
                </c:pt>
                <c:pt idx="48">
                  <c:v>136</c:v>
                </c:pt>
                <c:pt idx="49">
                  <c:v>143</c:v>
                </c:pt>
                <c:pt idx="50">
                  <c:v>137</c:v>
                </c:pt>
                <c:pt idx="51">
                  <c:v>123</c:v>
                </c:pt>
                <c:pt idx="52">
                  <c:v>127</c:v>
                </c:pt>
                <c:pt idx="53">
                  <c:v>119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00.26997157638897</c:v>
                </c:pt>
                <c:pt idx="32">
                  <c:v>195.91134316180793</c:v>
                </c:pt>
                <c:pt idx="33">
                  <c:v>191.59865651397433</c:v>
                </c:pt>
                <c:pt idx="34">
                  <c:v>187.45204036485057</c:v>
                </c:pt>
                <c:pt idx="35">
                  <c:v>183.43098962626715</c:v>
                </c:pt>
                <c:pt idx="36">
                  <c:v>179.46991590529626</c:v>
                </c:pt>
                <c:pt idx="37">
                  <c:v>175.51718388641407</c:v>
                </c:pt>
                <c:pt idx="38">
                  <c:v>171.62656969250276</c:v>
                </c:pt>
                <c:pt idx="39">
                  <c:v>167.69302602006752</c:v>
                </c:pt>
                <c:pt idx="40">
                  <c:v>163.68291433348466</c:v>
                </c:pt>
                <c:pt idx="41">
                  <c:v>159.63719885101983</c:v>
                </c:pt>
                <c:pt idx="42">
                  <c:v>155.5008302353973</c:v>
                </c:pt>
                <c:pt idx="43">
                  <c:v>151.25577440645247</c:v>
                </c:pt>
                <c:pt idx="44">
                  <c:v>146.91506067228161</c:v>
                </c:pt>
                <c:pt idx="45">
                  <c:v>142.50924495376802</c:v>
                </c:pt>
                <c:pt idx="46">
                  <c:v>138.07315721904237</c:v>
                </c:pt>
                <c:pt idx="47">
                  <c:v>133.62502631726537</c:v>
                </c:pt>
                <c:pt idx="48">
                  <c:v>129.16623168929627</c:v>
                </c:pt>
                <c:pt idx="49">
                  <c:v>124.69516946714214</c:v>
                </c:pt>
                <c:pt idx="50">
                  <c:v>120.24426366876506</c:v>
                </c:pt>
                <c:pt idx="51">
                  <c:v>115.83738639319304</c:v>
                </c:pt>
                <c:pt idx="52">
                  <c:v>111.51058795489385</c:v>
                </c:pt>
                <c:pt idx="53">
                  <c:v>107.23756291269579</c:v>
                </c:pt>
                <c:pt idx="54">
                  <c:v>103.03067312577238</c:v>
                </c:pt>
                <c:pt idx="55">
                  <c:v>98.910901917643628</c:v>
                </c:pt>
                <c:pt idx="56">
                  <c:v>94.896404760696186</c:v>
                </c:pt>
                <c:pt idx="57">
                  <c:v>91.000048449240722</c:v>
                </c:pt>
                <c:pt idx="58">
                  <c:v>87.218435419719881</c:v>
                </c:pt>
                <c:pt idx="59">
                  <c:v>83.560036714476439</c:v>
                </c:pt>
                <c:pt idx="60">
                  <c:v>80.01978776538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00.44641464937706</c:v>
                </c:pt>
                <c:pt idx="32">
                  <c:v>196.42147755485814</c:v>
                </c:pt>
                <c:pt idx="33">
                  <c:v>192.5662043527266</c:v>
                </c:pt>
                <c:pt idx="34">
                  <c:v>188.97884758770664</c:v>
                </c:pt>
                <c:pt idx="35">
                  <c:v>185.63285265352337</c:v>
                </c:pt>
                <c:pt idx="36">
                  <c:v>182.47576970181188</c:v>
                </c:pt>
                <c:pt idx="37">
                  <c:v>179.46613653700263</c:v>
                </c:pt>
                <c:pt idx="38">
                  <c:v>176.66049371156092</c:v>
                </c:pt>
                <c:pt idx="39">
                  <c:v>173.92698217754511</c:v>
                </c:pt>
                <c:pt idx="40">
                  <c:v>171.2082350546373</c:v>
                </c:pt>
                <c:pt idx="41">
                  <c:v>168.53432606259875</c:v>
                </c:pt>
                <c:pt idx="42">
                  <c:v>165.83993750078849</c:v>
                </c:pt>
                <c:pt idx="43">
                  <c:v>163.09160238733716</c:v>
                </c:pt>
                <c:pt idx="44">
                  <c:v>160.28511561362396</c:v>
                </c:pt>
                <c:pt idx="45">
                  <c:v>157.43285199827508</c:v>
                </c:pt>
                <c:pt idx="46">
                  <c:v>154.54847566675852</c:v>
                </c:pt>
                <c:pt idx="47">
                  <c:v>151.63624747502675</c:v>
                </c:pt>
                <c:pt idx="48">
                  <c:v>148.68657863396146</c:v>
                </c:pt>
                <c:pt idx="49">
                  <c:v>145.68905290040954</c:v>
                </c:pt>
                <c:pt idx="50">
                  <c:v>142.66699936944016</c:v>
                </c:pt>
                <c:pt idx="51">
                  <c:v>139.63336730409651</c:v>
                </c:pt>
                <c:pt idx="52">
                  <c:v>136.61526266187687</c:v>
                </c:pt>
                <c:pt idx="53">
                  <c:v>133.58012767148529</c:v>
                </c:pt>
                <c:pt idx="54">
                  <c:v>130.53777987154152</c:v>
                </c:pt>
                <c:pt idx="55">
                  <c:v>127.5077057427859</c:v>
                </c:pt>
                <c:pt idx="56">
                  <c:v>124.50531853623556</c:v>
                </c:pt>
                <c:pt idx="57">
                  <c:v>121.54210812336346</c:v>
                </c:pt>
                <c:pt idx="58">
                  <c:v>118.61464685729101</c:v>
                </c:pt>
                <c:pt idx="59">
                  <c:v>115.73174245346618</c:v>
                </c:pt>
                <c:pt idx="60">
                  <c:v>112.88994609955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00.62285772236515</c:v>
                </c:pt>
                <c:pt idx="32">
                  <c:v>196.93216680033913</c:v>
                </c:pt>
                <c:pt idx="33">
                  <c:v>193.53558670378683</c:v>
                </c:pt>
                <c:pt idx="34">
                  <c:v>190.50848879015984</c:v>
                </c:pt>
                <c:pt idx="35">
                  <c:v>187.8474626929987</c:v>
                </c:pt>
                <c:pt idx="36">
                  <c:v>185.52040301551773</c:v>
                </c:pt>
                <c:pt idx="37">
                  <c:v>183.50291729776848</c:v>
                </c:pt>
                <c:pt idx="38">
                  <c:v>181.85906147612988</c:v>
                </c:pt>
                <c:pt idx="39">
                  <c:v>180.43064719232734</c:v>
                </c:pt>
                <c:pt idx="40">
                  <c:v>179.1374070530205</c:v>
                </c:pt>
                <c:pt idx="41">
                  <c:v>178.00459153858887</c:v>
                </c:pt>
                <c:pt idx="42">
                  <c:v>176.96470040456211</c:v>
                </c:pt>
                <c:pt idx="43">
                  <c:v>175.97545138552093</c:v>
                </c:pt>
                <c:pt idx="44">
                  <c:v>175.01493935527878</c:v>
                </c:pt>
                <c:pt idx="45">
                  <c:v>174.07767369764198</c:v>
                </c:pt>
                <c:pt idx="46">
                  <c:v>173.15745477108777</c:v>
                </c:pt>
                <c:pt idx="47">
                  <c:v>172.24559185803037</c:v>
                </c:pt>
                <c:pt idx="48">
                  <c:v>171.32387744326374</c:v>
                </c:pt>
                <c:pt idx="49">
                  <c:v>170.37397556537883</c:v>
                </c:pt>
                <c:pt idx="50">
                  <c:v>169.40647017473077</c:v>
                </c:pt>
                <c:pt idx="51">
                  <c:v>168.42171599400973</c:v>
                </c:pt>
                <c:pt idx="52">
                  <c:v>167.43620126065287</c:v>
                </c:pt>
                <c:pt idx="53">
                  <c:v>166.40985959718614</c:v>
                </c:pt>
                <c:pt idx="54">
                  <c:v>165.34771153717577</c:v>
                </c:pt>
                <c:pt idx="55">
                  <c:v>164.26472226638046</c:v>
                </c:pt>
                <c:pt idx="56">
                  <c:v>163.17125125854628</c:v>
                </c:pt>
                <c:pt idx="57">
                  <c:v>162.07350473628827</c:v>
                </c:pt>
                <c:pt idx="58">
                  <c:v>160.96477737605869</c:v>
                </c:pt>
                <c:pt idx="59">
                  <c:v>159.85134282258102</c:v>
                </c:pt>
                <c:pt idx="60">
                  <c:v>158.728020048220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00.88807718427802</c:v>
                </c:pt>
                <c:pt idx="32">
                  <c:v>197.69864804979159</c:v>
                </c:pt>
                <c:pt idx="33">
                  <c:v>194.98901763406607</c:v>
                </c:pt>
                <c:pt idx="34">
                  <c:v>192.80118463306621</c:v>
                </c:pt>
                <c:pt idx="35">
                  <c:v>191.18271999096794</c:v>
                </c:pt>
                <c:pt idx="36">
                  <c:v>190.14812736689572</c:v>
                </c:pt>
                <c:pt idx="37">
                  <c:v>189.70929818879981</c:v>
                </c:pt>
                <c:pt idx="38">
                  <c:v>189.95151604313742</c:v>
                </c:pt>
                <c:pt idx="39">
                  <c:v>190.67446106843562</c:v>
                </c:pt>
                <c:pt idx="40">
                  <c:v>191.77391434933895</c:v>
                </c:pt>
                <c:pt idx="41">
                  <c:v>193.28286257882723</c:v>
                </c:pt>
                <c:pt idx="42">
                  <c:v>195.15195375812596</c:v>
                </c:pt>
                <c:pt idx="43">
                  <c:v>197.33441251827031</c:v>
                </c:pt>
                <c:pt idx="44">
                  <c:v>199.78910743558913</c:v>
                </c:pt>
                <c:pt idx="45">
                  <c:v>202.48837909166025</c:v>
                </c:pt>
                <c:pt idx="46">
                  <c:v>205.40211072618195</c:v>
                </c:pt>
                <c:pt idx="47">
                  <c:v>208.51412183293886</c:v>
                </c:pt>
                <c:pt idx="48">
                  <c:v>211.80509869991084</c:v>
                </c:pt>
                <c:pt idx="49">
                  <c:v>215.2505463418504</c:v>
                </c:pt>
                <c:pt idx="50">
                  <c:v>218.84514679774918</c:v>
                </c:pt>
                <c:pt idx="51">
                  <c:v>222.57240131796911</c:v>
                </c:pt>
                <c:pt idx="52">
                  <c:v>226.43463467309797</c:v>
                </c:pt>
                <c:pt idx="53">
                  <c:v>230.38607891437874</c:v>
                </c:pt>
                <c:pt idx="54">
                  <c:v>234.43007747264423</c:v>
                </c:pt>
                <c:pt idx="55">
                  <c:v>238.57783394057088</c:v>
                </c:pt>
                <c:pt idx="56">
                  <c:v>242.83093804840357</c:v>
                </c:pt>
                <c:pt idx="57">
                  <c:v>247.18678904621061</c:v>
                </c:pt>
                <c:pt idx="58">
                  <c:v>251.6331877065565</c:v>
                </c:pt>
                <c:pt idx="59">
                  <c:v>256.1763220954162</c:v>
                </c:pt>
                <c:pt idx="60">
                  <c:v>260.81060530242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02</c:v>
                </c:pt>
                <c:pt idx="1">
                  <c:v>202</c:v>
                </c:pt>
                <c:pt idx="2">
                  <c:v>202</c:v>
                </c:pt>
                <c:pt idx="3">
                  <c:v>202</c:v>
                </c:pt>
                <c:pt idx="4">
                  <c:v>202</c:v>
                </c:pt>
                <c:pt idx="5">
                  <c:v>202</c:v>
                </c:pt>
                <c:pt idx="6">
                  <c:v>202</c:v>
                </c:pt>
                <c:pt idx="7">
                  <c:v>202</c:v>
                </c:pt>
                <c:pt idx="8">
                  <c:v>202</c:v>
                </c:pt>
                <c:pt idx="9">
                  <c:v>202</c:v>
                </c:pt>
                <c:pt idx="10">
                  <c:v>202</c:v>
                </c:pt>
                <c:pt idx="11">
                  <c:v>202</c:v>
                </c:pt>
                <c:pt idx="12">
                  <c:v>202</c:v>
                </c:pt>
                <c:pt idx="13">
                  <c:v>202</c:v>
                </c:pt>
                <c:pt idx="14">
                  <c:v>202</c:v>
                </c:pt>
                <c:pt idx="15">
                  <c:v>202</c:v>
                </c:pt>
                <c:pt idx="16">
                  <c:v>202</c:v>
                </c:pt>
                <c:pt idx="17">
                  <c:v>202</c:v>
                </c:pt>
                <c:pt idx="18">
                  <c:v>202</c:v>
                </c:pt>
                <c:pt idx="19">
                  <c:v>202</c:v>
                </c:pt>
                <c:pt idx="20">
                  <c:v>202</c:v>
                </c:pt>
                <c:pt idx="21">
                  <c:v>202</c:v>
                </c:pt>
                <c:pt idx="22">
                  <c:v>202</c:v>
                </c:pt>
                <c:pt idx="23">
                  <c:v>202</c:v>
                </c:pt>
                <c:pt idx="24">
                  <c:v>202</c:v>
                </c:pt>
                <c:pt idx="25">
                  <c:v>202</c:v>
                </c:pt>
                <c:pt idx="26">
                  <c:v>202</c:v>
                </c:pt>
                <c:pt idx="27">
                  <c:v>202</c:v>
                </c:pt>
                <c:pt idx="28">
                  <c:v>202</c:v>
                </c:pt>
                <c:pt idx="29">
                  <c:v>202</c:v>
                </c:pt>
                <c:pt idx="30">
                  <c:v>202</c:v>
                </c:pt>
                <c:pt idx="31">
                  <c:v>202</c:v>
                </c:pt>
                <c:pt idx="32">
                  <c:v>202</c:v>
                </c:pt>
                <c:pt idx="33">
                  <c:v>202</c:v>
                </c:pt>
                <c:pt idx="34">
                  <c:v>202</c:v>
                </c:pt>
                <c:pt idx="35">
                  <c:v>202</c:v>
                </c:pt>
                <c:pt idx="36">
                  <c:v>202</c:v>
                </c:pt>
                <c:pt idx="37">
                  <c:v>202</c:v>
                </c:pt>
                <c:pt idx="38">
                  <c:v>202</c:v>
                </c:pt>
                <c:pt idx="39">
                  <c:v>202</c:v>
                </c:pt>
                <c:pt idx="40">
                  <c:v>202</c:v>
                </c:pt>
                <c:pt idx="41">
                  <c:v>202</c:v>
                </c:pt>
                <c:pt idx="42">
                  <c:v>202</c:v>
                </c:pt>
                <c:pt idx="43">
                  <c:v>202</c:v>
                </c:pt>
                <c:pt idx="44">
                  <c:v>202</c:v>
                </c:pt>
                <c:pt idx="45">
                  <c:v>202</c:v>
                </c:pt>
                <c:pt idx="46">
                  <c:v>202</c:v>
                </c:pt>
                <c:pt idx="47">
                  <c:v>202</c:v>
                </c:pt>
                <c:pt idx="48">
                  <c:v>202</c:v>
                </c:pt>
                <c:pt idx="49">
                  <c:v>202</c:v>
                </c:pt>
                <c:pt idx="50">
                  <c:v>202</c:v>
                </c:pt>
                <c:pt idx="51">
                  <c:v>202</c:v>
                </c:pt>
                <c:pt idx="52">
                  <c:v>202</c:v>
                </c:pt>
                <c:pt idx="53">
                  <c:v>202</c:v>
                </c:pt>
                <c:pt idx="54">
                  <c:v>202</c:v>
                </c:pt>
                <c:pt idx="55">
                  <c:v>202</c:v>
                </c:pt>
                <c:pt idx="56">
                  <c:v>202</c:v>
                </c:pt>
                <c:pt idx="57">
                  <c:v>202</c:v>
                </c:pt>
                <c:pt idx="58">
                  <c:v>202</c:v>
                </c:pt>
                <c:pt idx="59">
                  <c:v>202</c:v>
                </c:pt>
                <c:pt idx="60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7</c:v>
                </c:pt>
                <c:pt idx="1">
                  <c:v>84</c:v>
                </c:pt>
                <c:pt idx="2">
                  <c:v>83</c:v>
                </c:pt>
                <c:pt idx="3">
                  <c:v>87</c:v>
                </c:pt>
                <c:pt idx="4">
                  <c:v>89</c:v>
                </c:pt>
                <c:pt idx="5">
                  <c:v>89</c:v>
                </c:pt>
                <c:pt idx="6">
                  <c:v>93</c:v>
                </c:pt>
                <c:pt idx="7">
                  <c:v>96</c:v>
                </c:pt>
                <c:pt idx="8">
                  <c:v>93</c:v>
                </c:pt>
                <c:pt idx="9">
                  <c:v>96</c:v>
                </c:pt>
                <c:pt idx="10">
                  <c:v>90</c:v>
                </c:pt>
                <c:pt idx="11">
                  <c:v>87</c:v>
                </c:pt>
                <c:pt idx="12">
                  <c:v>88</c:v>
                </c:pt>
                <c:pt idx="13">
                  <c:v>93</c:v>
                </c:pt>
                <c:pt idx="14">
                  <c:v>95</c:v>
                </c:pt>
                <c:pt idx="15">
                  <c:v>96</c:v>
                </c:pt>
                <c:pt idx="16">
                  <c:v>94</c:v>
                </c:pt>
                <c:pt idx="17">
                  <c:v>94</c:v>
                </c:pt>
                <c:pt idx="18">
                  <c:v>105</c:v>
                </c:pt>
                <c:pt idx="19">
                  <c:v>106</c:v>
                </c:pt>
                <c:pt idx="20">
                  <c:v>102</c:v>
                </c:pt>
                <c:pt idx="21">
                  <c:v>110</c:v>
                </c:pt>
                <c:pt idx="22">
                  <c:v>108</c:v>
                </c:pt>
                <c:pt idx="23">
                  <c:v>107</c:v>
                </c:pt>
                <c:pt idx="24">
                  <c:v>106</c:v>
                </c:pt>
                <c:pt idx="25">
                  <c:v>105</c:v>
                </c:pt>
                <c:pt idx="26">
                  <c:v>102</c:v>
                </c:pt>
                <c:pt idx="27">
                  <c:v>102</c:v>
                </c:pt>
                <c:pt idx="28">
                  <c:v>103</c:v>
                </c:pt>
                <c:pt idx="29">
                  <c:v>92</c:v>
                </c:pt>
                <c:pt idx="30">
                  <c:v>94</c:v>
                </c:pt>
                <c:pt idx="31">
                  <c:v>81</c:v>
                </c:pt>
                <c:pt idx="32">
                  <c:v>77</c:v>
                </c:pt>
                <c:pt idx="33">
                  <c:v>77</c:v>
                </c:pt>
                <c:pt idx="34">
                  <c:v>70</c:v>
                </c:pt>
                <c:pt idx="35">
                  <c:v>69</c:v>
                </c:pt>
                <c:pt idx="36">
                  <c:v>78</c:v>
                </c:pt>
                <c:pt idx="37">
                  <c:v>81</c:v>
                </c:pt>
                <c:pt idx="38">
                  <c:v>80</c:v>
                </c:pt>
                <c:pt idx="39">
                  <c:v>78</c:v>
                </c:pt>
                <c:pt idx="40">
                  <c:v>77</c:v>
                </c:pt>
                <c:pt idx="41">
                  <c:v>82</c:v>
                </c:pt>
                <c:pt idx="42">
                  <c:v>81</c:v>
                </c:pt>
                <c:pt idx="43">
                  <c:v>70</c:v>
                </c:pt>
                <c:pt idx="44">
                  <c:v>72</c:v>
                </c:pt>
                <c:pt idx="45">
                  <c:v>72</c:v>
                </c:pt>
                <c:pt idx="46">
                  <c:v>74</c:v>
                </c:pt>
                <c:pt idx="47">
                  <c:v>65</c:v>
                </c:pt>
                <c:pt idx="48">
                  <c:v>69</c:v>
                </c:pt>
                <c:pt idx="49">
                  <c:v>68</c:v>
                </c:pt>
                <c:pt idx="50">
                  <c:v>67</c:v>
                </c:pt>
                <c:pt idx="51">
                  <c:v>73</c:v>
                </c:pt>
                <c:pt idx="52">
                  <c:v>64</c:v>
                </c:pt>
                <c:pt idx="53">
                  <c:v>6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3.382275806837953</c:v>
                </c:pt>
                <c:pt idx="32">
                  <c:v>91.316602568966189</c:v>
                </c:pt>
                <c:pt idx="33">
                  <c:v>89.27409801135272</c:v>
                </c:pt>
                <c:pt idx="34">
                  <c:v>87.315581275035939</c:v>
                </c:pt>
                <c:pt idx="35">
                  <c:v>85.421090012912003</c:v>
                </c:pt>
                <c:pt idx="36">
                  <c:v>83.55591184618072</c:v>
                </c:pt>
                <c:pt idx="37">
                  <c:v>81.704132478276293</c:v>
                </c:pt>
                <c:pt idx="38">
                  <c:v>79.883517616008035</c:v>
                </c:pt>
                <c:pt idx="39">
                  <c:v>78.044695645682168</c:v>
                </c:pt>
                <c:pt idx="40">
                  <c:v>76.169838904690266</c:v>
                </c:pt>
                <c:pt idx="41">
                  <c:v>74.284002347644616</c:v>
                </c:pt>
                <c:pt idx="42">
                  <c:v>72.359813175309924</c:v>
                </c:pt>
                <c:pt idx="43">
                  <c:v>70.386567130937635</c:v>
                </c:pt>
                <c:pt idx="44">
                  <c:v>68.369378993062611</c:v>
                </c:pt>
                <c:pt idx="45">
                  <c:v>66.322547860469285</c:v>
                </c:pt>
                <c:pt idx="46">
                  <c:v>64.264712223878291</c:v>
                </c:pt>
                <c:pt idx="47">
                  <c:v>62.202845613934421</c:v>
                </c:pt>
                <c:pt idx="48">
                  <c:v>60.135701662407598</c:v>
                </c:pt>
                <c:pt idx="49">
                  <c:v>58.063805564058619</c:v>
                </c:pt>
                <c:pt idx="50">
                  <c:v>56.002449623480331</c:v>
                </c:pt>
                <c:pt idx="51">
                  <c:v>53.961400046223631</c:v>
                </c:pt>
                <c:pt idx="52">
                  <c:v>51.957999949302859</c:v>
                </c:pt>
                <c:pt idx="53">
                  <c:v>49.97945553099116</c:v>
                </c:pt>
                <c:pt idx="54">
                  <c:v>48.03290672964166</c:v>
                </c:pt>
                <c:pt idx="55">
                  <c:v>46.126514643432934</c:v>
                </c:pt>
                <c:pt idx="56">
                  <c:v>44.267932874862481</c:v>
                </c:pt>
                <c:pt idx="57">
                  <c:v>42.463699102598298</c:v>
                </c:pt>
                <c:pt idx="58">
                  <c:v>40.71322664011447</c:v>
                </c:pt>
                <c:pt idx="59">
                  <c:v>39.020560209957296</c:v>
                </c:pt>
                <c:pt idx="60">
                  <c:v>37.383355384232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93.462782852996185</c:v>
                </c:pt>
                <c:pt idx="32">
                  <c:v>91.549275961838958</c:v>
                </c:pt>
                <c:pt idx="33">
                  <c:v>89.715689045675219</c:v>
                </c:pt>
                <c:pt idx="34">
                  <c:v>88.012681337244942</c:v>
                </c:pt>
                <c:pt idx="35">
                  <c:v>86.426651172563169</c:v>
                </c:pt>
                <c:pt idx="36">
                  <c:v>84.929342285659786</c:v>
                </c:pt>
                <c:pt idx="37">
                  <c:v>83.509771949608705</c:v>
                </c:pt>
                <c:pt idx="38">
                  <c:v>82.186989808455195</c:v>
                </c:pt>
                <c:pt idx="39">
                  <c:v>80.899300320057478</c:v>
                </c:pt>
                <c:pt idx="40">
                  <c:v>79.618134066215276</c:v>
                </c:pt>
                <c:pt idx="41">
                  <c:v>78.363549846172788</c:v>
                </c:pt>
                <c:pt idx="42">
                  <c:v>77.103222654049375</c:v>
                </c:pt>
                <c:pt idx="43">
                  <c:v>75.819428925533686</c:v>
                </c:pt>
                <c:pt idx="44">
                  <c:v>74.509427190047575</c:v>
                </c:pt>
                <c:pt idx="45">
                  <c:v>73.179132810360599</c:v>
                </c:pt>
                <c:pt idx="46">
                  <c:v>71.837349173726636</c:v>
                </c:pt>
                <c:pt idx="47">
                  <c:v>70.484537631402816</c:v>
                </c:pt>
                <c:pt idx="48">
                  <c:v>69.114363613714261</c:v>
                </c:pt>
                <c:pt idx="49">
                  <c:v>67.72327287380304</c:v>
                </c:pt>
                <c:pt idx="50">
                  <c:v>66.322332685537503</c:v>
                </c:pt>
                <c:pt idx="51">
                  <c:v>64.916257481270151</c:v>
                </c:pt>
                <c:pt idx="52">
                  <c:v>63.518255479022613</c:v>
                </c:pt>
                <c:pt idx="53">
                  <c:v>62.112619194074853</c:v>
                </c:pt>
                <c:pt idx="54">
                  <c:v>60.705252510540532</c:v>
                </c:pt>
                <c:pt idx="55">
                  <c:v>59.303546496257638</c:v>
                </c:pt>
                <c:pt idx="56">
                  <c:v>57.913893333600953</c:v>
                </c:pt>
                <c:pt idx="57">
                  <c:v>56.54220136818077</c:v>
                </c:pt>
                <c:pt idx="58">
                  <c:v>55.187835162951629</c:v>
                </c:pt>
                <c:pt idx="59">
                  <c:v>53.854951599211525</c:v>
                </c:pt>
                <c:pt idx="60">
                  <c:v>52.541920858936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3.543289899154416</c:v>
                </c:pt>
                <c:pt idx="32">
                  <c:v>91.782202521523544</c:v>
                </c:pt>
                <c:pt idx="33">
                  <c:v>90.158116845444397</c:v>
                </c:pt>
                <c:pt idx="34">
                  <c:v>88.711074743246101</c:v>
                </c:pt>
                <c:pt idx="35">
                  <c:v>87.4380305324798</c:v>
                </c:pt>
                <c:pt idx="36">
                  <c:v>86.320465102438902</c:v>
                </c:pt>
                <c:pt idx="37">
                  <c:v>85.355492640515223</c:v>
                </c:pt>
                <c:pt idx="38">
                  <c:v>84.565619669315879</c:v>
                </c:pt>
                <c:pt idx="39">
                  <c:v>83.877052991166607</c:v>
                </c:pt>
                <c:pt idx="40">
                  <c:v>83.250888764823429</c:v>
                </c:pt>
                <c:pt idx="41">
                  <c:v>82.704991635145689</c:v>
                </c:pt>
                <c:pt idx="42">
                  <c:v>82.205812232768096</c:v>
                </c:pt>
                <c:pt idx="43">
                  <c:v>81.731666806012299</c:v>
                </c:pt>
                <c:pt idx="44">
                  <c:v>81.271775636827641</c:v>
                </c:pt>
                <c:pt idx="45">
                  <c:v>80.823836826883962</c:v>
                </c:pt>
                <c:pt idx="46">
                  <c:v>80.387416187686711</c:v>
                </c:pt>
                <c:pt idx="47">
                  <c:v>79.956951265221335</c:v>
                </c:pt>
                <c:pt idx="48">
                  <c:v>79.522118813471849</c:v>
                </c:pt>
                <c:pt idx="49">
                  <c:v>79.075702130916781</c:v>
                </c:pt>
                <c:pt idx="50">
                  <c:v>78.622888259803403</c:v>
                </c:pt>
                <c:pt idx="51">
                  <c:v>78.162582835979279</c:v>
                </c:pt>
                <c:pt idx="52">
                  <c:v>77.703085157680732</c:v>
                </c:pt>
                <c:pt idx="53">
                  <c:v>77.225197421433805</c:v>
                </c:pt>
                <c:pt idx="54">
                  <c:v>76.732555707435139</c:v>
                </c:pt>
                <c:pt idx="55">
                  <c:v>76.230398418697476</c:v>
                </c:pt>
                <c:pt idx="56">
                  <c:v>75.722792261666996</c:v>
                </c:pt>
                <c:pt idx="57">
                  <c:v>75.213219969682484</c:v>
                </c:pt>
                <c:pt idx="58">
                  <c:v>74.699505709909047</c:v>
                </c:pt>
                <c:pt idx="59">
                  <c:v>74.184587655180039</c:v>
                </c:pt>
                <c:pt idx="60">
                  <c:v>73.66600550191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93.664303635203567</c:v>
                </c:pt>
                <c:pt idx="32">
                  <c:v>92.131796209467524</c:v>
                </c:pt>
                <c:pt idx="33">
                  <c:v>90.8214663088973</c:v>
                </c:pt>
                <c:pt idx="34">
                  <c:v>89.757859887689818</c:v>
                </c:pt>
                <c:pt idx="35">
                  <c:v>88.961186587440352</c:v>
                </c:pt>
                <c:pt idx="36">
                  <c:v>88.434870956983076</c:v>
                </c:pt>
                <c:pt idx="37">
                  <c:v>88.1930687715993</c:v>
                </c:pt>
                <c:pt idx="38">
                  <c:v>88.268026558966227</c:v>
                </c:pt>
                <c:pt idx="39">
                  <c:v>88.566609900085325</c:v>
                </c:pt>
                <c:pt idx="40">
                  <c:v>89.039222009339554</c:v>
                </c:pt>
                <c:pt idx="41">
                  <c:v>89.707323160534742</c:v>
                </c:pt>
                <c:pt idx="42">
                  <c:v>90.545391306030155</c:v>
                </c:pt>
                <c:pt idx="43">
                  <c:v>91.529862110993719</c:v>
                </c:pt>
                <c:pt idx="44">
                  <c:v>92.641302841709489</c:v>
                </c:pt>
                <c:pt idx="45">
                  <c:v>93.867239071626074</c:v>
                </c:pt>
                <c:pt idx="46">
                  <c:v>95.196111424776603</c:v>
                </c:pt>
                <c:pt idx="47">
                  <c:v>96.618841365065123</c:v>
                </c:pt>
                <c:pt idx="48">
                  <c:v>98.12457576659169</c:v>
                </c:pt>
                <c:pt idx="49">
                  <c:v>99.703273497099872</c:v>
                </c:pt>
                <c:pt idx="50">
                  <c:v>101.35282354662243</c:v>
                </c:pt>
                <c:pt idx="51">
                  <c:v>103.06437091698204</c:v>
                </c:pt>
                <c:pt idx="52">
                  <c:v>104.83968253379054</c:v>
                </c:pt>
                <c:pt idx="53">
                  <c:v>106.65689320083045</c:v>
                </c:pt>
                <c:pt idx="54">
                  <c:v>108.51879265541913</c:v>
                </c:pt>
                <c:pt idx="55">
                  <c:v>110.4288030638383</c:v>
                </c:pt>
                <c:pt idx="56">
                  <c:v>112.38698535326466</c:v>
                </c:pt>
                <c:pt idx="57">
                  <c:v>114.39279430672958</c:v>
                </c:pt>
                <c:pt idx="58">
                  <c:v>116.44148310850278</c:v>
                </c:pt>
                <c:pt idx="59">
                  <c:v>118.5358658482908</c:v>
                </c:pt>
                <c:pt idx="60">
                  <c:v>120.67324866580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3</c:v>
                </c:pt>
                <c:pt idx="1">
                  <c:v>93</c:v>
                </c:pt>
                <c:pt idx="2">
                  <c:v>93</c:v>
                </c:pt>
                <c:pt idx="3">
                  <c:v>93</c:v>
                </c:pt>
                <c:pt idx="4">
                  <c:v>93</c:v>
                </c:pt>
                <c:pt idx="5">
                  <c:v>93</c:v>
                </c:pt>
                <c:pt idx="6">
                  <c:v>93</c:v>
                </c:pt>
                <c:pt idx="7">
                  <c:v>93</c:v>
                </c:pt>
                <c:pt idx="8">
                  <c:v>93</c:v>
                </c:pt>
                <c:pt idx="9">
                  <c:v>93</c:v>
                </c:pt>
                <c:pt idx="10">
                  <c:v>93</c:v>
                </c:pt>
                <c:pt idx="11">
                  <c:v>93</c:v>
                </c:pt>
                <c:pt idx="12">
                  <c:v>93</c:v>
                </c:pt>
                <c:pt idx="13">
                  <c:v>93</c:v>
                </c:pt>
                <c:pt idx="14">
                  <c:v>93</c:v>
                </c:pt>
                <c:pt idx="15">
                  <c:v>93</c:v>
                </c:pt>
                <c:pt idx="16">
                  <c:v>93</c:v>
                </c:pt>
                <c:pt idx="17">
                  <c:v>93</c:v>
                </c:pt>
                <c:pt idx="18">
                  <c:v>93</c:v>
                </c:pt>
                <c:pt idx="19">
                  <c:v>93</c:v>
                </c:pt>
                <c:pt idx="20">
                  <c:v>93</c:v>
                </c:pt>
                <c:pt idx="21">
                  <c:v>93</c:v>
                </c:pt>
                <c:pt idx="22">
                  <c:v>93</c:v>
                </c:pt>
                <c:pt idx="23">
                  <c:v>93</c:v>
                </c:pt>
                <c:pt idx="24">
                  <c:v>93</c:v>
                </c:pt>
                <c:pt idx="25">
                  <c:v>93</c:v>
                </c:pt>
                <c:pt idx="26">
                  <c:v>93</c:v>
                </c:pt>
                <c:pt idx="27">
                  <c:v>93</c:v>
                </c:pt>
                <c:pt idx="28">
                  <c:v>93</c:v>
                </c:pt>
                <c:pt idx="29">
                  <c:v>93</c:v>
                </c:pt>
                <c:pt idx="30">
                  <c:v>93</c:v>
                </c:pt>
                <c:pt idx="31">
                  <c:v>93</c:v>
                </c:pt>
                <c:pt idx="32">
                  <c:v>93</c:v>
                </c:pt>
                <c:pt idx="33">
                  <c:v>93</c:v>
                </c:pt>
                <c:pt idx="34">
                  <c:v>93</c:v>
                </c:pt>
                <c:pt idx="35">
                  <c:v>93</c:v>
                </c:pt>
                <c:pt idx="36">
                  <c:v>93</c:v>
                </c:pt>
                <c:pt idx="37">
                  <c:v>93</c:v>
                </c:pt>
                <c:pt idx="38">
                  <c:v>93</c:v>
                </c:pt>
                <c:pt idx="39">
                  <c:v>93</c:v>
                </c:pt>
                <c:pt idx="40">
                  <c:v>93</c:v>
                </c:pt>
                <c:pt idx="41">
                  <c:v>93</c:v>
                </c:pt>
                <c:pt idx="42">
                  <c:v>93</c:v>
                </c:pt>
                <c:pt idx="43">
                  <c:v>93</c:v>
                </c:pt>
                <c:pt idx="44">
                  <c:v>93</c:v>
                </c:pt>
                <c:pt idx="45">
                  <c:v>93</c:v>
                </c:pt>
                <c:pt idx="46">
                  <c:v>93</c:v>
                </c:pt>
                <c:pt idx="47">
                  <c:v>93</c:v>
                </c:pt>
                <c:pt idx="48">
                  <c:v>93</c:v>
                </c:pt>
                <c:pt idx="49">
                  <c:v>93</c:v>
                </c:pt>
                <c:pt idx="50">
                  <c:v>93</c:v>
                </c:pt>
                <c:pt idx="51">
                  <c:v>93</c:v>
                </c:pt>
                <c:pt idx="52">
                  <c:v>93</c:v>
                </c:pt>
                <c:pt idx="53">
                  <c:v>93</c:v>
                </c:pt>
                <c:pt idx="54">
                  <c:v>93</c:v>
                </c:pt>
                <c:pt idx="55">
                  <c:v>93</c:v>
                </c:pt>
                <c:pt idx="56">
                  <c:v>93</c:v>
                </c:pt>
                <c:pt idx="57">
                  <c:v>93</c:v>
                </c:pt>
                <c:pt idx="58">
                  <c:v>93</c:v>
                </c:pt>
                <c:pt idx="59">
                  <c:v>93</c:v>
                </c:pt>
                <c:pt idx="60">
                  <c:v>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14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4</c:v>
                </c:pt>
                <c:pt idx="1">
                  <c:v>54</c:v>
                </c:pt>
                <c:pt idx="2">
                  <c:v>60</c:v>
                </c:pt>
                <c:pt idx="3">
                  <c:v>61</c:v>
                </c:pt>
                <c:pt idx="4">
                  <c:v>63</c:v>
                </c:pt>
                <c:pt idx="5">
                  <c:v>66</c:v>
                </c:pt>
                <c:pt idx="6">
                  <c:v>70</c:v>
                </c:pt>
                <c:pt idx="7">
                  <c:v>74</c:v>
                </c:pt>
                <c:pt idx="8">
                  <c:v>77</c:v>
                </c:pt>
                <c:pt idx="9">
                  <c:v>67</c:v>
                </c:pt>
                <c:pt idx="10">
                  <c:v>66</c:v>
                </c:pt>
                <c:pt idx="11">
                  <c:v>73</c:v>
                </c:pt>
                <c:pt idx="12">
                  <c:v>71</c:v>
                </c:pt>
                <c:pt idx="13">
                  <c:v>70</c:v>
                </c:pt>
                <c:pt idx="14">
                  <c:v>68</c:v>
                </c:pt>
                <c:pt idx="15">
                  <c:v>66</c:v>
                </c:pt>
                <c:pt idx="16">
                  <c:v>71</c:v>
                </c:pt>
                <c:pt idx="17">
                  <c:v>65</c:v>
                </c:pt>
                <c:pt idx="18">
                  <c:v>66</c:v>
                </c:pt>
                <c:pt idx="19">
                  <c:v>68</c:v>
                </c:pt>
                <c:pt idx="20">
                  <c:v>69</c:v>
                </c:pt>
                <c:pt idx="21">
                  <c:v>68</c:v>
                </c:pt>
                <c:pt idx="22">
                  <c:v>64</c:v>
                </c:pt>
                <c:pt idx="23">
                  <c:v>68</c:v>
                </c:pt>
                <c:pt idx="24">
                  <c:v>62</c:v>
                </c:pt>
                <c:pt idx="25">
                  <c:v>65</c:v>
                </c:pt>
                <c:pt idx="26">
                  <c:v>63</c:v>
                </c:pt>
                <c:pt idx="27">
                  <c:v>67</c:v>
                </c:pt>
                <c:pt idx="28">
                  <c:v>74</c:v>
                </c:pt>
                <c:pt idx="29">
                  <c:v>66</c:v>
                </c:pt>
                <c:pt idx="30">
                  <c:v>67</c:v>
                </c:pt>
                <c:pt idx="31">
                  <c:v>64</c:v>
                </c:pt>
                <c:pt idx="32">
                  <c:v>66</c:v>
                </c:pt>
                <c:pt idx="33">
                  <c:v>63</c:v>
                </c:pt>
                <c:pt idx="34">
                  <c:v>63</c:v>
                </c:pt>
                <c:pt idx="35">
                  <c:v>63</c:v>
                </c:pt>
                <c:pt idx="36">
                  <c:v>67</c:v>
                </c:pt>
                <c:pt idx="37">
                  <c:v>56</c:v>
                </c:pt>
                <c:pt idx="38">
                  <c:v>52</c:v>
                </c:pt>
                <c:pt idx="39">
                  <c:v>56</c:v>
                </c:pt>
                <c:pt idx="40">
                  <c:v>51</c:v>
                </c:pt>
                <c:pt idx="41">
                  <c:v>56</c:v>
                </c:pt>
                <c:pt idx="42">
                  <c:v>53</c:v>
                </c:pt>
                <c:pt idx="43">
                  <c:v>55</c:v>
                </c:pt>
                <c:pt idx="44">
                  <c:v>60</c:v>
                </c:pt>
                <c:pt idx="45">
                  <c:v>56</c:v>
                </c:pt>
                <c:pt idx="46">
                  <c:v>56</c:v>
                </c:pt>
                <c:pt idx="47">
                  <c:v>53</c:v>
                </c:pt>
                <c:pt idx="48">
                  <c:v>55</c:v>
                </c:pt>
                <c:pt idx="49">
                  <c:v>60</c:v>
                </c:pt>
                <c:pt idx="50">
                  <c:v>60</c:v>
                </c:pt>
                <c:pt idx="51">
                  <c:v>60</c:v>
                </c:pt>
                <c:pt idx="52">
                  <c:v>64</c:v>
                </c:pt>
                <c:pt idx="53">
                  <c:v>65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66.033698680103555</c:v>
                </c:pt>
                <c:pt idx="32">
                  <c:v>64.637990550645824</c:v>
                </c:pt>
                <c:pt idx="33">
                  <c:v>63.255258480770763</c:v>
                </c:pt>
                <c:pt idx="34">
                  <c:v>61.919136931480075</c:v>
                </c:pt>
                <c:pt idx="35">
                  <c:v>60.61760775169482</c:v>
                </c:pt>
                <c:pt idx="36">
                  <c:v>59.334179696511491</c:v>
                </c:pt>
                <c:pt idx="37">
                  <c:v>58.041678518601955</c:v>
                </c:pt>
                <c:pt idx="38">
                  <c:v>56.766923498739757</c:v>
                </c:pt>
                <c:pt idx="39">
                  <c:v>55.475762938707611</c:v>
                </c:pt>
                <c:pt idx="40">
                  <c:v>54.159769519255335</c:v>
                </c:pt>
                <c:pt idx="41">
                  <c:v>52.825046913190292</c:v>
                </c:pt>
                <c:pt idx="42">
                  <c:v>51.455563142366316</c:v>
                </c:pt>
                <c:pt idx="43">
                  <c:v>50.048225869219337</c:v>
                </c:pt>
                <c:pt idx="44">
                  <c:v>48.608525495019094</c:v>
                </c:pt>
                <c:pt idx="45">
                  <c:v>47.146473082718273</c:v>
                </c:pt>
                <c:pt idx="46">
                  <c:v>45.670571378665713</c:v>
                </c:pt>
                <c:pt idx="47">
                  <c:v>44.188728575434283</c:v>
                </c:pt>
                <c:pt idx="48">
                  <c:v>42.703748970986013</c:v>
                </c:pt>
                <c:pt idx="49">
                  <c:v>41.213520846726801</c:v>
                </c:pt>
                <c:pt idx="50">
                  <c:v>39.728519347126003</c:v>
                </c:pt>
                <c:pt idx="51">
                  <c:v>38.258312782587531</c:v>
                </c:pt>
                <c:pt idx="52">
                  <c:v>36.814124435090434</c:v>
                </c:pt>
                <c:pt idx="53">
                  <c:v>35.387937350883675</c:v>
                </c:pt>
                <c:pt idx="54">
                  <c:v>33.982116847756089</c:v>
                </c:pt>
                <c:pt idx="55">
                  <c:v>32.605599685033432</c:v>
                </c:pt>
                <c:pt idx="56">
                  <c:v>31.265381731330489</c:v>
                </c:pt>
                <c:pt idx="57">
                  <c:v>29.965036376066809</c:v>
                </c:pt>
                <c:pt idx="58">
                  <c:v>28.702203045393965</c:v>
                </c:pt>
                <c:pt idx="59">
                  <c:v>27.479556932611604</c:v>
                </c:pt>
                <c:pt idx="60">
                  <c:v>26.295406883033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66.094070879763052</c:v>
                </c:pt>
                <c:pt idx="32">
                  <c:v>64.812650774813733</c:v>
                </c:pt>
                <c:pt idx="33">
                  <c:v>63.586167228283799</c:v>
                </c:pt>
                <c:pt idx="34">
                  <c:v>62.440991174439489</c:v>
                </c:pt>
                <c:pt idx="35">
                  <c:v>61.369883527179354</c:v>
                </c:pt>
                <c:pt idx="36">
                  <c:v>60.360275002484627</c:v>
                </c:pt>
                <c:pt idx="37">
                  <c:v>59.388111879283564</c:v>
                </c:pt>
                <c:pt idx="38">
                  <c:v>58.481131235001506</c:v>
                </c:pt>
                <c:pt idx="39">
                  <c:v>57.596119708498058</c:v>
                </c:pt>
                <c:pt idx="40">
                  <c:v>56.716425393756779</c:v>
                </c:pt>
                <c:pt idx="41">
                  <c:v>55.844459293653287</c:v>
                </c:pt>
                <c:pt idx="42">
                  <c:v>54.961007940554623</c:v>
                </c:pt>
                <c:pt idx="43">
                  <c:v>54.057670607708047</c:v>
                </c:pt>
                <c:pt idx="44">
                  <c:v>53.134031485339669</c:v>
                </c:pt>
                <c:pt idx="45">
                  <c:v>52.193990291960503</c:v>
                </c:pt>
                <c:pt idx="46">
                  <c:v>51.239028441996417</c:v>
                </c:pt>
                <c:pt idx="47">
                  <c:v>50.27244750429405</c:v>
                </c:pt>
                <c:pt idx="48">
                  <c:v>49.293402859274146</c:v>
                </c:pt>
                <c:pt idx="49">
                  <c:v>48.296840325425322</c:v>
                </c:pt>
                <c:pt idx="50">
                  <c:v>47.290216632820119</c:v>
                </c:pt>
                <c:pt idx="51">
                  <c:v>46.279447165490957</c:v>
                </c:pt>
                <c:pt idx="52">
                  <c:v>45.272761661067413</c:v>
                </c:pt>
                <c:pt idx="53">
                  <c:v>44.260079554966069</c:v>
                </c:pt>
                <c:pt idx="54">
                  <c:v>43.242989018387796</c:v>
                </c:pt>
                <c:pt idx="55">
                  <c:v>42.230022888901445</c:v>
                </c:pt>
                <c:pt idx="56">
                  <c:v>41.227251439255213</c:v>
                </c:pt>
                <c:pt idx="57">
                  <c:v>40.237778262702207</c:v>
                </c:pt>
                <c:pt idx="58">
                  <c:v>39.259276040403677</c:v>
                </c:pt>
                <c:pt idx="59">
                  <c:v>38.294586710277166</c:v>
                </c:pt>
                <c:pt idx="60">
                  <c:v>37.3426000983168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66.154443079422549</c:v>
                </c:pt>
                <c:pt idx="32">
                  <c:v>64.987500848666087</c:v>
                </c:pt>
                <c:pt idx="33">
                  <c:v>63.917704027314187</c:v>
                </c:pt>
                <c:pt idx="34">
                  <c:v>62.96381477313237</c:v>
                </c:pt>
                <c:pt idx="35">
                  <c:v>62.126518337418261</c:v>
                </c:pt>
                <c:pt idx="36">
                  <c:v>61.39964150835344</c:v>
                </c:pt>
                <c:pt idx="37">
                  <c:v>60.764587761573864</c:v>
                </c:pt>
                <c:pt idx="38">
                  <c:v>60.251631120517388</c:v>
                </c:pt>
                <c:pt idx="39">
                  <c:v>59.808653986461202</c:v>
                </c:pt>
                <c:pt idx="40">
                  <c:v>59.411026301321513</c:v>
                </c:pt>
                <c:pt idx="41">
                  <c:v>59.05950055202667</c:v>
                </c:pt>
                <c:pt idx="42">
                  <c:v>58.734400620471348</c:v>
                </c:pt>
                <c:pt idx="43">
                  <c:v>58.424232393343075</c:v>
                </c:pt>
                <c:pt idx="44">
                  <c:v>58.122476684014181</c:v>
                </c:pt>
                <c:pt idx="45">
                  <c:v>57.827001971039238</c:v>
                </c:pt>
                <c:pt idx="46">
                  <c:v>57.532709606526709</c:v>
                </c:pt>
                <c:pt idx="47">
                  <c:v>57.238611723565029</c:v>
                </c:pt>
                <c:pt idx="48">
                  <c:v>56.940984505643527</c:v>
                </c:pt>
                <c:pt idx="49">
                  <c:v>56.632124696801519</c:v>
                </c:pt>
                <c:pt idx="50">
                  <c:v>56.315208819453701</c:v>
                </c:pt>
                <c:pt idx="51">
                  <c:v>55.991920202000955</c:v>
                </c:pt>
                <c:pt idx="52">
                  <c:v>55.666935534225537</c:v>
                </c:pt>
                <c:pt idx="53">
                  <c:v>55.327685048717058</c:v>
                </c:pt>
                <c:pt idx="54">
                  <c:v>54.974213835020791</c:v>
                </c:pt>
                <c:pt idx="55">
                  <c:v>54.613619242722322</c:v>
                </c:pt>
                <c:pt idx="56">
                  <c:v>54.25026663953814</c:v>
                </c:pt>
                <c:pt idx="57">
                  <c:v>53.885470155508642</c:v>
                </c:pt>
                <c:pt idx="58">
                  <c:v>53.515836757978263</c:v>
                </c:pt>
                <c:pt idx="59">
                  <c:v>53.14341899298001</c:v>
                </c:pt>
                <c:pt idx="60">
                  <c:v>52.766563864765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66.245191228596241</c:v>
                </c:pt>
                <c:pt idx="32">
                  <c:v>65.249929386750821</c:v>
                </c:pt>
                <c:pt idx="33">
                  <c:v>64.414788152168782</c:v>
                </c:pt>
                <c:pt idx="34">
                  <c:v>63.747444925937842</c:v>
                </c:pt>
                <c:pt idx="35">
                  <c:v>63.2660367006076</c:v>
                </c:pt>
                <c:pt idx="36">
                  <c:v>62.979496384223737</c:v>
                </c:pt>
                <c:pt idx="37">
                  <c:v>62.881038082654349</c:v>
                </c:pt>
                <c:pt idx="38">
                  <c:v>63.008131608020804</c:v>
                </c:pt>
                <c:pt idx="39">
                  <c:v>63.294389706808438</c:v>
                </c:pt>
                <c:pt idx="40">
                  <c:v>63.706694065756636</c:v>
                </c:pt>
                <c:pt idx="41">
                  <c:v>64.24836243959065</c:v>
                </c:pt>
                <c:pt idx="42">
                  <c:v>64.906243330765875</c:v>
                </c:pt>
                <c:pt idx="43">
                  <c:v>65.667094476575656</c:v>
                </c:pt>
                <c:pt idx="44">
                  <c:v>66.517669568976061</c:v>
                </c:pt>
                <c:pt idx="45">
                  <c:v>67.448323120860579</c:v>
                </c:pt>
                <c:pt idx="46">
                  <c:v>68.446036961482307</c:v>
                </c:pt>
                <c:pt idx="47">
                  <c:v>69.507383169104628</c:v>
                </c:pt>
                <c:pt idx="48">
                  <c:v>70.628290695357677</c:v>
                </c:pt>
                <c:pt idx="49">
                  <c:v>71.798966559969884</c:v>
                </c:pt>
                <c:pt idx="50">
                  <c:v>73.017198922599107</c:v>
                </c:pt>
                <c:pt idx="51">
                  <c:v>74.278992479573645</c:v>
                </c:pt>
                <c:pt idx="52">
                  <c:v>75.58426462359013</c:v>
                </c:pt>
                <c:pt idx="53">
                  <c:v>76.918576653201058</c:v>
                </c:pt>
                <c:pt idx="54">
                  <c:v>78.281500677209891</c:v>
                </c:pt>
                <c:pt idx="55">
                  <c:v>79.678971189859979</c:v>
                </c:pt>
                <c:pt idx="56">
                  <c:v>81.112358278623589</c:v>
                </c:pt>
                <c:pt idx="57">
                  <c:v>82.579974500917388</c:v>
                </c:pt>
                <c:pt idx="58">
                  <c:v>84.076626887201073</c:v>
                </c:pt>
                <c:pt idx="59">
                  <c:v>85.604444433147677</c:v>
                </c:pt>
                <c:pt idx="60">
                  <c:v>87.1616953968834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7</c:v>
                </c:pt>
                <c:pt idx="1">
                  <c:v>77</c:v>
                </c:pt>
                <c:pt idx="2">
                  <c:v>77</c:v>
                </c:pt>
                <c:pt idx="3">
                  <c:v>77</c:v>
                </c:pt>
                <c:pt idx="4">
                  <c:v>77</c:v>
                </c:pt>
                <c:pt idx="5">
                  <c:v>77</c:v>
                </c:pt>
                <c:pt idx="6">
                  <c:v>77</c:v>
                </c:pt>
                <c:pt idx="7">
                  <c:v>77</c:v>
                </c:pt>
                <c:pt idx="8">
                  <c:v>77</c:v>
                </c:pt>
                <c:pt idx="9">
                  <c:v>77</c:v>
                </c:pt>
                <c:pt idx="10">
                  <c:v>77</c:v>
                </c:pt>
                <c:pt idx="11">
                  <c:v>77</c:v>
                </c:pt>
                <c:pt idx="12">
                  <c:v>77</c:v>
                </c:pt>
                <c:pt idx="13">
                  <c:v>77</c:v>
                </c:pt>
                <c:pt idx="14">
                  <c:v>77</c:v>
                </c:pt>
                <c:pt idx="15">
                  <c:v>77</c:v>
                </c:pt>
                <c:pt idx="16">
                  <c:v>77</c:v>
                </c:pt>
                <c:pt idx="17">
                  <c:v>77</c:v>
                </c:pt>
                <c:pt idx="18">
                  <c:v>77</c:v>
                </c:pt>
                <c:pt idx="19">
                  <c:v>77</c:v>
                </c:pt>
                <c:pt idx="20">
                  <c:v>77</c:v>
                </c:pt>
                <c:pt idx="21">
                  <c:v>77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  <c:pt idx="41">
                  <c:v>77</c:v>
                </c:pt>
                <c:pt idx="42">
                  <c:v>77</c:v>
                </c:pt>
                <c:pt idx="43">
                  <c:v>77</c:v>
                </c:pt>
                <c:pt idx="44">
                  <c:v>77</c:v>
                </c:pt>
                <c:pt idx="45">
                  <c:v>77</c:v>
                </c:pt>
                <c:pt idx="46">
                  <c:v>77</c:v>
                </c:pt>
                <c:pt idx="47">
                  <c:v>77</c:v>
                </c:pt>
                <c:pt idx="48">
                  <c:v>77</c:v>
                </c:pt>
                <c:pt idx="49">
                  <c:v>77</c:v>
                </c:pt>
                <c:pt idx="50">
                  <c:v>77</c:v>
                </c:pt>
                <c:pt idx="51">
                  <c:v>77</c:v>
                </c:pt>
                <c:pt idx="52">
                  <c:v>77</c:v>
                </c:pt>
                <c:pt idx="53">
                  <c:v>77</c:v>
                </c:pt>
                <c:pt idx="54">
                  <c:v>77</c:v>
                </c:pt>
                <c:pt idx="55">
                  <c:v>77</c:v>
                </c:pt>
                <c:pt idx="56">
                  <c:v>77</c:v>
                </c:pt>
                <c:pt idx="57">
                  <c:v>77</c:v>
                </c:pt>
                <c:pt idx="58">
                  <c:v>77</c:v>
                </c:pt>
                <c:pt idx="59">
                  <c:v>77</c:v>
                </c:pt>
                <c:pt idx="60">
                  <c:v>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1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1</c:v>
                </c:pt>
                <c:pt idx="1">
                  <c:v>128</c:v>
                </c:pt>
                <c:pt idx="2">
                  <c:v>139</c:v>
                </c:pt>
                <c:pt idx="3">
                  <c:v>139</c:v>
                </c:pt>
                <c:pt idx="4">
                  <c:v>130</c:v>
                </c:pt>
                <c:pt idx="5">
                  <c:v>140</c:v>
                </c:pt>
                <c:pt idx="6">
                  <c:v>145</c:v>
                </c:pt>
                <c:pt idx="7">
                  <c:v>160</c:v>
                </c:pt>
                <c:pt idx="8">
                  <c:v>155</c:v>
                </c:pt>
                <c:pt idx="9">
                  <c:v>160</c:v>
                </c:pt>
                <c:pt idx="10">
                  <c:v>163</c:v>
                </c:pt>
                <c:pt idx="11">
                  <c:v>165</c:v>
                </c:pt>
                <c:pt idx="12">
                  <c:v>168</c:v>
                </c:pt>
                <c:pt idx="13">
                  <c:v>175</c:v>
                </c:pt>
                <c:pt idx="14">
                  <c:v>178</c:v>
                </c:pt>
                <c:pt idx="15">
                  <c:v>180</c:v>
                </c:pt>
                <c:pt idx="16">
                  <c:v>171</c:v>
                </c:pt>
                <c:pt idx="17">
                  <c:v>176</c:v>
                </c:pt>
                <c:pt idx="18">
                  <c:v>170</c:v>
                </c:pt>
                <c:pt idx="19">
                  <c:v>171</c:v>
                </c:pt>
                <c:pt idx="20">
                  <c:v>174</c:v>
                </c:pt>
                <c:pt idx="21">
                  <c:v>177</c:v>
                </c:pt>
                <c:pt idx="22">
                  <c:v>184</c:v>
                </c:pt>
                <c:pt idx="23">
                  <c:v>172</c:v>
                </c:pt>
                <c:pt idx="24">
                  <c:v>168</c:v>
                </c:pt>
                <c:pt idx="25">
                  <c:v>158</c:v>
                </c:pt>
                <c:pt idx="26">
                  <c:v>163</c:v>
                </c:pt>
                <c:pt idx="27">
                  <c:v>169</c:v>
                </c:pt>
                <c:pt idx="28">
                  <c:v>178</c:v>
                </c:pt>
                <c:pt idx="29">
                  <c:v>165</c:v>
                </c:pt>
                <c:pt idx="30">
                  <c:v>155</c:v>
                </c:pt>
                <c:pt idx="31">
                  <c:v>154</c:v>
                </c:pt>
                <c:pt idx="32">
                  <c:v>133</c:v>
                </c:pt>
                <c:pt idx="33">
                  <c:v>145</c:v>
                </c:pt>
                <c:pt idx="34">
                  <c:v>140</c:v>
                </c:pt>
                <c:pt idx="35">
                  <c:v>139</c:v>
                </c:pt>
                <c:pt idx="36">
                  <c:v>144</c:v>
                </c:pt>
                <c:pt idx="37">
                  <c:v>142</c:v>
                </c:pt>
                <c:pt idx="38">
                  <c:v>134</c:v>
                </c:pt>
                <c:pt idx="39">
                  <c:v>130</c:v>
                </c:pt>
                <c:pt idx="40">
                  <c:v>124</c:v>
                </c:pt>
                <c:pt idx="41">
                  <c:v>123</c:v>
                </c:pt>
                <c:pt idx="42">
                  <c:v>121</c:v>
                </c:pt>
                <c:pt idx="43">
                  <c:v>126</c:v>
                </c:pt>
                <c:pt idx="44">
                  <c:v>127</c:v>
                </c:pt>
                <c:pt idx="45">
                  <c:v>109</c:v>
                </c:pt>
                <c:pt idx="46">
                  <c:v>114</c:v>
                </c:pt>
                <c:pt idx="47">
                  <c:v>111</c:v>
                </c:pt>
                <c:pt idx="48">
                  <c:v>108</c:v>
                </c:pt>
                <c:pt idx="49">
                  <c:v>115</c:v>
                </c:pt>
                <c:pt idx="50">
                  <c:v>111</c:v>
                </c:pt>
                <c:pt idx="51">
                  <c:v>104</c:v>
                </c:pt>
                <c:pt idx="52">
                  <c:v>93</c:v>
                </c:pt>
                <c:pt idx="53">
                  <c:v>9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8.83996722375167</c:v>
                </c:pt>
                <c:pt idx="32">
                  <c:v>155.30316300155874</c:v>
                </c:pt>
                <c:pt idx="33">
                  <c:v>151.80698232183579</c:v>
                </c:pt>
                <c:pt idx="34">
                  <c:v>148.4582170709061</c:v>
                </c:pt>
                <c:pt idx="35">
                  <c:v>145.22216426452979</c:v>
                </c:pt>
                <c:pt idx="36">
                  <c:v>142.03690837312672</c:v>
                </c:pt>
                <c:pt idx="37">
                  <c:v>138.88105424313977</c:v>
                </c:pt>
                <c:pt idx="38">
                  <c:v>135.77973935612326</c:v>
                </c:pt>
                <c:pt idx="39">
                  <c:v>132.6487132368328</c:v>
                </c:pt>
                <c:pt idx="40">
                  <c:v>129.4561620927048</c:v>
                </c:pt>
                <c:pt idx="41">
                  <c:v>126.24884283992264</c:v>
                </c:pt>
                <c:pt idx="42">
                  <c:v>122.97901047725858</c:v>
                </c:pt>
                <c:pt idx="43">
                  <c:v>119.62686173749482</c:v>
                </c:pt>
                <c:pt idx="44">
                  <c:v>116.20042889559174</c:v>
                </c:pt>
                <c:pt idx="45">
                  <c:v>112.72406996605375</c:v>
                </c:pt>
                <c:pt idx="46">
                  <c:v>109.2311554073116</c:v>
                </c:pt>
                <c:pt idx="47">
                  <c:v>105.73248588738579</c:v>
                </c:pt>
                <c:pt idx="48">
                  <c:v>102.22462773006652</c:v>
                </c:pt>
                <c:pt idx="49">
                  <c:v>98.709359306610892</c:v>
                </c:pt>
                <c:pt idx="50">
                  <c:v>95.212812956364189</c:v>
                </c:pt>
                <c:pt idx="51">
                  <c:v>91.75065174645917</c:v>
                </c:pt>
                <c:pt idx="52">
                  <c:v>88.352746606061316</c:v>
                </c:pt>
                <c:pt idx="53">
                  <c:v>84.996968624809725</c:v>
                </c:pt>
                <c:pt idx="54">
                  <c:v>81.69641907145197</c:v>
                </c:pt>
                <c:pt idx="55">
                  <c:v>78.463851332587836</c:v>
                </c:pt>
                <c:pt idx="56">
                  <c:v>75.311719431550046</c:v>
                </c:pt>
                <c:pt idx="57">
                  <c:v>72.251517838015161</c:v>
                </c:pt>
                <c:pt idx="58">
                  <c:v>69.282942113317262</c:v>
                </c:pt>
                <c:pt idx="59">
                  <c:v>66.412938113592517</c:v>
                </c:pt>
                <c:pt idx="60">
                  <c:v>63.637529929755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8.97567971428322</c:v>
                </c:pt>
                <c:pt idx="32">
                  <c:v>155.69532199687706</c:v>
                </c:pt>
                <c:pt idx="33">
                  <c:v>152.55146760371736</c:v>
                </c:pt>
                <c:pt idx="34">
                  <c:v>149.63365497428296</c:v>
                </c:pt>
                <c:pt idx="35">
                  <c:v>146.91790019111687</c:v>
                </c:pt>
                <c:pt idx="36">
                  <c:v>144.35349865722804</c:v>
                </c:pt>
                <c:pt idx="37">
                  <c:v>141.92757436355078</c:v>
                </c:pt>
                <c:pt idx="38">
                  <c:v>139.66744520151246</c:v>
                </c:pt>
                <c:pt idx="39">
                  <c:v>137.4680218074455</c:v>
                </c:pt>
                <c:pt idx="40">
                  <c:v>135.27944313592789</c:v>
                </c:pt>
                <c:pt idx="41">
                  <c:v>133.14002474747497</c:v>
                </c:pt>
                <c:pt idx="42">
                  <c:v>130.99348392090673</c:v>
                </c:pt>
                <c:pt idx="43">
                  <c:v>128.80820068978554</c:v>
                </c:pt>
                <c:pt idx="44">
                  <c:v>126.57896915766889</c:v>
                </c:pt>
                <c:pt idx="45">
                  <c:v>124.3159520983036</c:v>
                </c:pt>
                <c:pt idx="46">
                  <c:v>122.0358145443991</c:v>
                </c:pt>
                <c:pt idx="47">
                  <c:v>119.73828076255248</c:v>
                </c:pt>
                <c:pt idx="48">
                  <c:v>117.41128036027374</c:v>
                </c:pt>
                <c:pt idx="49">
                  <c:v>115.0496733071666</c:v>
                </c:pt>
                <c:pt idx="50">
                  <c:v>112.67241627577802</c:v>
                </c:pt>
                <c:pt idx="51">
                  <c:v>110.28660819027536</c:v>
                </c:pt>
                <c:pt idx="52">
                  <c:v>107.9151114763271</c:v>
                </c:pt>
                <c:pt idx="53">
                  <c:v>105.53084230932802</c:v>
                </c:pt>
                <c:pt idx="54">
                  <c:v>103.14476493292707</c:v>
                </c:pt>
                <c:pt idx="55">
                  <c:v>100.76827282895732</c:v>
                </c:pt>
                <c:pt idx="56">
                  <c:v>98.411686366686126</c:v>
                </c:pt>
                <c:pt idx="57">
                  <c:v>96.085438372378263</c:v>
                </c:pt>
                <c:pt idx="58">
                  <c:v>93.789117344615818</c:v>
                </c:pt>
                <c:pt idx="59">
                  <c:v>91.529828754367458</c:v>
                </c:pt>
                <c:pt idx="60">
                  <c:v>89.304785253160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9.11139220481479</c:v>
                </c:pt>
                <c:pt idx="32">
                  <c:v>156.08790776103356</c:v>
                </c:pt>
                <c:pt idx="33">
                  <c:v>153.29736323931576</c:v>
                </c:pt>
                <c:pt idx="34">
                  <c:v>150.81127328174313</c:v>
                </c:pt>
                <c:pt idx="35">
                  <c:v>148.6234454220824</c:v>
                </c:pt>
                <c:pt idx="36">
                  <c:v>146.69991205263196</c:v>
                </c:pt>
                <c:pt idx="37">
                  <c:v>145.04166539447948</c:v>
                </c:pt>
                <c:pt idx="38">
                  <c:v>143.68187040854355</c:v>
                </c:pt>
                <c:pt idx="39">
                  <c:v>142.49498464447876</c:v>
                </c:pt>
                <c:pt idx="40">
                  <c:v>141.41380749082026</c:v>
                </c:pt>
                <c:pt idx="41">
                  <c:v>140.47296045043811</c:v>
                </c:pt>
                <c:pt idx="42">
                  <c:v>139.61393451560372</c:v>
                </c:pt>
                <c:pt idx="43">
                  <c:v>138.79847801474602</c:v>
                </c:pt>
                <c:pt idx="44">
                  <c:v>138.00786171101987</c:v>
                </c:pt>
                <c:pt idx="45">
                  <c:v>137.23834971238392</c:v>
                </c:pt>
                <c:pt idx="46">
                  <c:v>136.49091132082441</c:v>
                </c:pt>
                <c:pt idx="47">
                  <c:v>135.75503514469514</c:v>
                </c:pt>
                <c:pt idx="48">
                  <c:v>135.0118871052899</c:v>
                </c:pt>
                <c:pt idx="49">
                  <c:v>134.25011857707517</c:v>
                </c:pt>
                <c:pt idx="50">
                  <c:v>133.47872768503129</c:v>
                </c:pt>
                <c:pt idx="51">
                  <c:v>132.69497715628833</c:v>
                </c:pt>
                <c:pt idx="52">
                  <c:v>131.91340866773814</c:v>
                </c:pt>
                <c:pt idx="53">
                  <c:v>131.10100899973537</c:v>
                </c:pt>
                <c:pt idx="54">
                  <c:v>130.26486335712849</c:v>
                </c:pt>
                <c:pt idx="55">
                  <c:v>129.41267270113121</c:v>
                </c:pt>
                <c:pt idx="56">
                  <c:v>128.55082340610682</c:v>
                </c:pt>
                <c:pt idx="57">
                  <c:v>127.6856488752797</c:v>
                </c:pt>
                <c:pt idx="58">
                  <c:v>126.81410905404053</c:v>
                </c:pt>
                <c:pt idx="59">
                  <c:v>125.94121062911148</c:v>
                </c:pt>
                <c:pt idx="60">
                  <c:v>125.06273778512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59.31538770945028</c:v>
                </c:pt>
                <c:pt idx="32">
                  <c:v>156.67712983888975</c:v>
                </c:pt>
                <c:pt idx="33">
                  <c:v>154.41571475018085</c:v>
                </c:pt>
                <c:pt idx="34">
                  <c:v>152.57634436777428</c:v>
                </c:pt>
                <c:pt idx="35">
                  <c:v>151.1920237492921</c:v>
                </c:pt>
                <c:pt idx="36">
                  <c:v>150.26625715861215</c:v>
                </c:pt>
                <c:pt idx="37">
                  <c:v>149.82910951447724</c:v>
                </c:pt>
                <c:pt idx="38">
                  <c:v>149.93020329573073</c:v>
                </c:pt>
                <c:pt idx="39">
                  <c:v>150.41130861519719</c:v>
                </c:pt>
                <c:pt idx="40">
                  <c:v>151.18736691439969</c:v>
                </c:pt>
                <c:pt idx="41">
                  <c:v>152.29910765110168</c:v>
                </c:pt>
                <c:pt idx="42">
                  <c:v>153.70137367917164</c:v>
                </c:pt>
                <c:pt idx="43">
                  <c:v>155.35286362235809</c:v>
                </c:pt>
                <c:pt idx="44">
                  <c:v>157.2203465759184</c:v>
                </c:pt>
                <c:pt idx="45">
                  <c:v>159.28289781631747</c:v>
                </c:pt>
                <c:pt idx="46">
                  <c:v>161.52258181736505</c:v>
                </c:pt>
                <c:pt idx="47">
                  <c:v>163.92288995905747</c:v>
                </c:pt>
                <c:pt idx="48">
                  <c:v>166.46407706693856</c:v>
                </c:pt>
                <c:pt idx="49">
                  <c:v>169.13002321859926</c:v>
                </c:pt>
                <c:pt idx="50">
                  <c:v>171.91739395502873</c:v>
                </c:pt>
                <c:pt idx="51">
                  <c:v>174.81031945422103</c:v>
                </c:pt>
                <c:pt idx="52">
                  <c:v>177.81227997043021</c:v>
                </c:pt>
                <c:pt idx="53">
                  <c:v>180.88571898816616</c:v>
                </c:pt>
                <c:pt idx="54">
                  <c:v>184.036237383073</c:v>
                </c:pt>
                <c:pt idx="55">
                  <c:v>187.26840346840447</c:v>
                </c:pt>
                <c:pt idx="56">
                  <c:v>190.58184790495505</c:v>
                </c:pt>
                <c:pt idx="57">
                  <c:v>193.97610732502108</c:v>
                </c:pt>
                <c:pt idx="58">
                  <c:v>197.44376207473204</c:v>
                </c:pt>
                <c:pt idx="59">
                  <c:v>200.98954925770133</c:v>
                </c:pt>
                <c:pt idx="60">
                  <c:v>204.60882498850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2</c:v>
                </c:pt>
                <c:pt idx="1">
                  <c:v>142</c:v>
                </c:pt>
                <c:pt idx="2">
                  <c:v>142</c:v>
                </c:pt>
                <c:pt idx="3">
                  <c:v>142</c:v>
                </c:pt>
                <c:pt idx="4">
                  <c:v>142</c:v>
                </c:pt>
                <c:pt idx="5">
                  <c:v>142</c:v>
                </c:pt>
                <c:pt idx="6">
                  <c:v>142</c:v>
                </c:pt>
                <c:pt idx="7">
                  <c:v>142</c:v>
                </c:pt>
                <c:pt idx="8">
                  <c:v>142</c:v>
                </c:pt>
                <c:pt idx="9">
                  <c:v>142</c:v>
                </c:pt>
                <c:pt idx="10">
                  <c:v>142</c:v>
                </c:pt>
                <c:pt idx="11">
                  <c:v>142</c:v>
                </c:pt>
                <c:pt idx="12">
                  <c:v>142</c:v>
                </c:pt>
                <c:pt idx="13">
                  <c:v>142</c:v>
                </c:pt>
                <c:pt idx="14">
                  <c:v>142</c:v>
                </c:pt>
                <c:pt idx="15">
                  <c:v>142</c:v>
                </c:pt>
                <c:pt idx="16">
                  <c:v>142</c:v>
                </c:pt>
                <c:pt idx="17">
                  <c:v>142</c:v>
                </c:pt>
                <c:pt idx="18">
                  <c:v>142</c:v>
                </c:pt>
                <c:pt idx="19">
                  <c:v>142</c:v>
                </c:pt>
                <c:pt idx="20">
                  <c:v>142</c:v>
                </c:pt>
                <c:pt idx="21">
                  <c:v>142</c:v>
                </c:pt>
                <c:pt idx="22">
                  <c:v>142</c:v>
                </c:pt>
                <c:pt idx="23">
                  <c:v>142</c:v>
                </c:pt>
                <c:pt idx="24">
                  <c:v>142</c:v>
                </c:pt>
                <c:pt idx="25">
                  <c:v>142</c:v>
                </c:pt>
                <c:pt idx="26">
                  <c:v>142</c:v>
                </c:pt>
                <c:pt idx="27">
                  <c:v>142</c:v>
                </c:pt>
                <c:pt idx="28">
                  <c:v>142</c:v>
                </c:pt>
                <c:pt idx="29">
                  <c:v>142</c:v>
                </c:pt>
                <c:pt idx="30">
                  <c:v>142</c:v>
                </c:pt>
                <c:pt idx="31">
                  <c:v>142</c:v>
                </c:pt>
                <c:pt idx="32">
                  <c:v>142</c:v>
                </c:pt>
                <c:pt idx="33">
                  <c:v>142</c:v>
                </c:pt>
                <c:pt idx="34">
                  <c:v>142</c:v>
                </c:pt>
                <c:pt idx="35">
                  <c:v>142</c:v>
                </c:pt>
                <c:pt idx="36">
                  <c:v>142</c:v>
                </c:pt>
                <c:pt idx="37">
                  <c:v>142</c:v>
                </c:pt>
                <c:pt idx="38">
                  <c:v>142</c:v>
                </c:pt>
                <c:pt idx="39">
                  <c:v>142</c:v>
                </c:pt>
                <c:pt idx="40">
                  <c:v>142</c:v>
                </c:pt>
                <c:pt idx="41">
                  <c:v>142</c:v>
                </c:pt>
                <c:pt idx="42">
                  <c:v>142</c:v>
                </c:pt>
                <c:pt idx="43">
                  <c:v>142</c:v>
                </c:pt>
                <c:pt idx="44">
                  <c:v>142</c:v>
                </c:pt>
                <c:pt idx="45">
                  <c:v>142</c:v>
                </c:pt>
                <c:pt idx="46">
                  <c:v>142</c:v>
                </c:pt>
                <c:pt idx="47">
                  <c:v>142</c:v>
                </c:pt>
                <c:pt idx="48">
                  <c:v>142</c:v>
                </c:pt>
                <c:pt idx="49">
                  <c:v>142</c:v>
                </c:pt>
                <c:pt idx="50">
                  <c:v>142</c:v>
                </c:pt>
                <c:pt idx="51">
                  <c:v>142</c:v>
                </c:pt>
                <c:pt idx="52">
                  <c:v>142</c:v>
                </c:pt>
                <c:pt idx="53">
                  <c:v>142</c:v>
                </c:pt>
                <c:pt idx="54">
                  <c:v>142</c:v>
                </c:pt>
                <c:pt idx="55">
                  <c:v>142</c:v>
                </c:pt>
                <c:pt idx="56">
                  <c:v>142</c:v>
                </c:pt>
                <c:pt idx="57">
                  <c:v>142</c:v>
                </c:pt>
                <c:pt idx="58">
                  <c:v>142</c:v>
                </c:pt>
                <c:pt idx="59">
                  <c:v>142</c:v>
                </c:pt>
                <c:pt idx="60">
                  <c:v>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40</c:v>
                </c:pt>
                <c:pt idx="1">
                  <c:v>449</c:v>
                </c:pt>
                <c:pt idx="2">
                  <c:v>669</c:v>
                </c:pt>
                <c:pt idx="3">
                  <c:v>882</c:v>
                </c:pt>
                <c:pt idx="4">
                  <c:v>1096</c:v>
                </c:pt>
                <c:pt idx="5">
                  <c:v>1265</c:v>
                </c:pt>
                <c:pt idx="6">
                  <c:v>1440</c:v>
                </c:pt>
                <c:pt idx="7">
                  <c:v>1670</c:v>
                </c:pt>
                <c:pt idx="8">
                  <c:v>1889</c:v>
                </c:pt>
                <c:pt idx="9">
                  <c:v>2122</c:v>
                </c:pt>
                <c:pt idx="10">
                  <c:v>2332</c:v>
                </c:pt>
                <c:pt idx="11">
                  <c:v>2542</c:v>
                </c:pt>
                <c:pt idx="12">
                  <c:v>2719</c:v>
                </c:pt>
                <c:pt idx="13">
                  <c:v>2890</c:v>
                </c:pt>
                <c:pt idx="14">
                  <c:v>3120</c:v>
                </c:pt>
                <c:pt idx="15">
                  <c:v>3331</c:v>
                </c:pt>
                <c:pt idx="16">
                  <c:v>3527</c:v>
                </c:pt>
                <c:pt idx="17">
                  <c:v>3708</c:v>
                </c:pt>
                <c:pt idx="18">
                  <c:v>3866</c:v>
                </c:pt>
                <c:pt idx="19">
                  <c:v>4026</c:v>
                </c:pt>
                <c:pt idx="20">
                  <c:v>4172</c:v>
                </c:pt>
                <c:pt idx="21">
                  <c:v>4364</c:v>
                </c:pt>
                <c:pt idx="22">
                  <c:v>4552</c:v>
                </c:pt>
                <c:pt idx="23">
                  <c:v>4723</c:v>
                </c:pt>
                <c:pt idx="24">
                  <c:v>4915</c:v>
                </c:pt>
                <c:pt idx="25">
                  <c:v>5056</c:v>
                </c:pt>
                <c:pt idx="26">
                  <c:v>5191</c:v>
                </c:pt>
                <c:pt idx="27">
                  <c:v>5319</c:v>
                </c:pt>
                <c:pt idx="28">
                  <c:v>5479</c:v>
                </c:pt>
                <c:pt idx="29">
                  <c:v>5624</c:v>
                </c:pt>
                <c:pt idx="30">
                  <c:v>5768</c:v>
                </c:pt>
                <c:pt idx="31">
                  <c:v>5903</c:v>
                </c:pt>
                <c:pt idx="32">
                  <c:v>6013</c:v>
                </c:pt>
                <c:pt idx="33">
                  <c:v>6126</c:v>
                </c:pt>
                <c:pt idx="34">
                  <c:v>6233</c:v>
                </c:pt>
                <c:pt idx="35">
                  <c:v>6331</c:v>
                </c:pt>
                <c:pt idx="36">
                  <c:v>6463</c:v>
                </c:pt>
                <c:pt idx="37">
                  <c:v>6592</c:v>
                </c:pt>
                <c:pt idx="38">
                  <c:v>6708</c:v>
                </c:pt>
                <c:pt idx="39">
                  <c:v>6809</c:v>
                </c:pt>
                <c:pt idx="40">
                  <c:v>6907</c:v>
                </c:pt>
                <c:pt idx="41">
                  <c:v>6987</c:v>
                </c:pt>
                <c:pt idx="42">
                  <c:v>7082</c:v>
                </c:pt>
                <c:pt idx="43">
                  <c:v>7179</c:v>
                </c:pt>
                <c:pt idx="44">
                  <c:v>7277</c:v>
                </c:pt>
                <c:pt idx="45">
                  <c:v>7360</c:v>
                </c:pt>
                <c:pt idx="46">
                  <c:v>7455</c:v>
                </c:pt>
                <c:pt idx="47">
                  <c:v>7513</c:v>
                </c:pt>
                <c:pt idx="48">
                  <c:v>7574</c:v>
                </c:pt>
                <c:pt idx="49">
                  <c:v>7669</c:v>
                </c:pt>
                <c:pt idx="50">
                  <c:v>7743</c:v>
                </c:pt>
                <c:pt idx="51">
                  <c:v>7808</c:v>
                </c:pt>
                <c:pt idx="52">
                  <c:v>7878</c:v>
                </c:pt>
                <c:pt idx="53">
                  <c:v>793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871.7519270875318</c:v>
                </c:pt>
                <c:pt idx="32">
                  <c:v>5996.1408375337996</c:v>
                </c:pt>
                <c:pt idx="33">
                  <c:v>6117.5746649688972</c:v>
                </c:pt>
                <c:pt idx="34">
                  <c:v>6237.403956484538</c:v>
                </c:pt>
                <c:pt idx="35">
                  <c:v>6355.4241973735861</c:v>
                </c:pt>
                <c:pt idx="36">
                  <c:v>6470.7348357542796</c:v>
                </c:pt>
                <c:pt idx="37">
                  <c:v>6582.9228086996154</c:v>
                </c:pt>
                <c:pt idx="38">
                  <c:v>6692.243347792024</c:v>
                </c:pt>
                <c:pt idx="39">
                  <c:v>6798.102169318021</c:v>
                </c:pt>
                <c:pt idx="40">
                  <c:v>6900.3710061229995</c:v>
                </c:pt>
                <c:pt idx="41">
                  <c:v>6999.2610391709686</c:v>
                </c:pt>
                <c:pt idx="42">
                  <c:v>7094.5134791180117</c:v>
                </c:pt>
                <c:pt idx="43">
                  <c:v>7185.7611488412222</c:v>
                </c:pt>
                <c:pt idx="44">
                  <c:v>7272.9026792802015</c:v>
                </c:pt>
                <c:pt idx="45">
                  <c:v>7355.9945880337691</c:v>
                </c:pt>
                <c:pt idx="46">
                  <c:v>7435.2777739145604</c:v>
                </c:pt>
                <c:pt idx="47">
                  <c:v>7511.0396063315447</c:v>
                </c:pt>
                <c:pt idx="48">
                  <c:v>7583.4311503464105</c:v>
                </c:pt>
                <c:pt idx="49">
                  <c:v>7652.3914441175893</c:v>
                </c:pt>
                <c:pt idx="50">
                  <c:v>7718.0286868836174</c:v>
                </c:pt>
                <c:pt idx="51">
                  <c:v>7780.5756254151802</c:v>
                </c:pt>
                <c:pt idx="52">
                  <c:v>7840.1956214855873</c:v>
                </c:pt>
                <c:pt idx="53">
                  <c:v>7896.9462077492353</c:v>
                </c:pt>
                <c:pt idx="54">
                  <c:v>7950.9715586872335</c:v>
                </c:pt>
                <c:pt idx="55">
                  <c:v>8002.4767986122042</c:v>
                </c:pt>
                <c:pt idx="56">
                  <c:v>8051.5758369029772</c:v>
                </c:pt>
                <c:pt idx="57">
                  <c:v>8098.3747936978471</c:v>
                </c:pt>
                <c:pt idx="58">
                  <c:v>8142.987432243568</c:v>
                </c:pt>
                <c:pt idx="59">
                  <c:v>8185.4938819395556</c:v>
                </c:pt>
                <c:pt idx="60">
                  <c:v>8226.00168813804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5873.1038361091933</c:v>
                </c:pt>
                <c:pt idx="32">
                  <c:v>6000.1507602353104</c:v>
                </c:pt>
                <c:pt idx="33">
                  <c:v>6125.3994173814181</c:v>
                </c:pt>
                <c:pt idx="34">
                  <c:v>6250.1141099680417</c:v>
                </c:pt>
                <c:pt idx="35">
                  <c:v>6374.2653780476503</c:v>
                </c:pt>
                <c:pt idx="36">
                  <c:v>6497.1333707374797</c:v>
                </c:pt>
                <c:pt idx="37">
                  <c:v>6618.47885142822</c:v>
                </c:pt>
                <c:pt idx="38">
                  <c:v>6738.6796449034964</c:v>
                </c:pt>
                <c:pt idx="39">
                  <c:v>6857.0254851117606</c:v>
                </c:pt>
                <c:pt idx="40">
                  <c:v>6973.2932019841155</c:v>
                </c:pt>
                <c:pt idx="41">
                  <c:v>7087.6789228029575</c:v>
                </c:pt>
                <c:pt idx="42">
                  <c:v>7199.9036324084827</c:v>
                </c:pt>
                <c:pt idx="43">
                  <c:v>7309.5407620251372</c:v>
                </c:pt>
                <c:pt idx="44">
                  <c:v>7416.4057077547077</c:v>
                </c:pt>
                <c:pt idx="45">
                  <c:v>7520.4518195907676</c:v>
                </c:pt>
                <c:pt idx="46">
                  <c:v>7621.7839532136168</c:v>
                </c:pt>
                <c:pt idx="47">
                  <c:v>7720.5928538855078</c:v>
                </c:pt>
                <c:pt idx="48">
                  <c:v>7816.9466287281975</c:v>
                </c:pt>
                <c:pt idx="49">
                  <c:v>7910.7089002666144</c:v>
                </c:pt>
                <c:pt idx="50">
                  <c:v>8001.9063489001692</c:v>
                </c:pt>
                <c:pt idx="51">
                  <c:v>8090.6711706128408</c:v>
                </c:pt>
                <c:pt idx="52">
                  <c:v>8177.0744885938566</c:v>
                </c:pt>
                <c:pt idx="53">
                  <c:v>8261.091262333026</c:v>
                </c:pt>
                <c:pt idx="54">
                  <c:v>8342.802235031977</c:v>
                </c:pt>
                <c:pt idx="55">
                  <c:v>8422.3531897150606</c:v>
                </c:pt>
                <c:pt idx="56">
                  <c:v>8499.7882484243091</c:v>
                </c:pt>
                <c:pt idx="57">
                  <c:v>8575.1522147794713</c:v>
                </c:pt>
                <c:pt idx="58">
                  <c:v>8648.5044399357666</c:v>
                </c:pt>
                <c:pt idx="59">
                  <c:v>8719.8709976015125</c:v>
                </c:pt>
                <c:pt idx="60">
                  <c:v>8789.3135225675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874.4557451308538</c:v>
                </c:pt>
                <c:pt idx="32">
                  <c:v>6004.1649342230512</c:v>
                </c:pt>
                <c:pt idx="33">
                  <c:v>6133.2385442986069</c:v>
                </c:pt>
                <c:pt idx="34">
                  <c:v>6262.8474033002367</c:v>
                </c:pt>
                <c:pt idx="35">
                  <c:v>6393.207443135514</c:v>
                </c:pt>
                <c:pt idx="36">
                  <c:v>6523.8397995992591</c:v>
                </c:pt>
                <c:pt idx="37">
                  <c:v>6654.7420650385593</c:v>
                </c:pt>
                <c:pt idx="38">
                  <c:v>6786.4656371326291</c:v>
                </c:pt>
                <c:pt idx="39">
                  <c:v>6918.2058269679164</c:v>
                </c:pt>
                <c:pt idx="40">
                  <c:v>7049.6695933402098</c:v>
                </c:pt>
                <c:pt idx="41">
                  <c:v>7181.104268903131</c:v>
                </c:pt>
                <c:pt idx="42">
                  <c:v>7312.2965596806316</c:v>
                </c:pt>
                <c:pt idx="43">
                  <c:v>7442.8401656976184</c:v>
                </c:pt>
                <c:pt idx="44">
                  <c:v>7572.4974821189207</c:v>
                </c:pt>
                <c:pt idx="45">
                  <c:v>7701.1550212544862</c:v>
                </c:pt>
                <c:pt idx="46">
                  <c:v>7828.8255298230142</c:v>
                </c:pt>
                <c:pt idx="47">
                  <c:v>7955.6466758808456</c:v>
                </c:pt>
                <c:pt idx="48">
                  <c:v>8081.6586975602913</c:v>
                </c:pt>
                <c:pt idx="49">
                  <c:v>8206.6953698840935</c:v>
                </c:pt>
                <c:pt idx="50">
                  <c:v>8330.713725995558</c:v>
                </c:pt>
                <c:pt idx="51">
                  <c:v>8453.7704956031375</c:v>
                </c:pt>
                <c:pt idx="52">
                  <c:v>8575.8688662441928</c:v>
                </c:pt>
                <c:pt idx="53">
                  <c:v>8696.9278379147272</c:v>
                </c:pt>
                <c:pt idx="54">
                  <c:v>8816.983228731995</c:v>
                </c:pt>
                <c:pt idx="55">
                  <c:v>8936.1332324799405</c:v>
                </c:pt>
                <c:pt idx="56">
                  <c:v>9054.367639721173</c:v>
                </c:pt>
                <c:pt idx="57">
                  <c:v>9171.6718358499602</c:v>
                </c:pt>
                <c:pt idx="58">
                  <c:v>9288.0554809227306</c:v>
                </c:pt>
                <c:pt idx="59">
                  <c:v>9403.4954323707898</c:v>
                </c:pt>
                <c:pt idx="60">
                  <c:v>9518.00657692842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876.4878599495769</c:v>
                </c:pt>
                <c:pt idx="32">
                  <c:v>6010.1899414937507</c:v>
                </c:pt>
                <c:pt idx="33">
                  <c:v>6144.9929408338739</c:v>
                </c:pt>
                <c:pt idx="34">
                  <c:v>6281.9341013753001</c:v>
                </c:pt>
                <c:pt idx="35">
                  <c:v>6421.7219750360673</c:v>
                </c:pt>
                <c:pt idx="36">
                  <c:v>6564.371827260512</c:v>
                </c:pt>
                <c:pt idx="37">
                  <c:v>6710.3384579075</c:v>
                </c:pt>
                <c:pt idx="38">
                  <c:v>6860.5372309119557</c:v>
                </c:pt>
                <c:pt idx="39">
                  <c:v>7014.0354111844154</c:v>
                </c:pt>
                <c:pt idx="40">
                  <c:v>7170.5486195476024</c:v>
                </c:pt>
                <c:pt idx="41">
                  <c:v>7330.5561254846452</c:v>
                </c:pt>
                <c:pt idx="42">
                  <c:v>7494.1585756765744</c:v>
                </c:pt>
                <c:pt idx="43">
                  <c:v>7661.1114253917476</c:v>
                </c:pt>
                <c:pt idx="44">
                  <c:v>7831.225262239499</c:v>
                </c:pt>
                <c:pt idx="45">
                  <c:v>8004.3982108362852</c:v>
                </c:pt>
                <c:pt idx="46">
                  <c:v>8180.6299849605148</c:v>
                </c:pt>
                <c:pt idx="47">
                  <c:v>8360.156255467482</c:v>
                </c:pt>
                <c:pt idx="48">
                  <c:v>8543.1602412597749</c:v>
                </c:pt>
                <c:pt idx="49">
                  <c:v>8729.5777444213454</c:v>
                </c:pt>
                <c:pt idx="50">
                  <c:v>8919.3939257923957</c:v>
                </c:pt>
                <c:pt idx="51">
                  <c:v>9112.6790080581868</c:v>
                </c:pt>
                <c:pt idx="52">
                  <c:v>9309.4610334720419</c:v>
                </c:pt>
                <c:pt idx="53">
                  <c:v>9509.7334697965871</c:v>
                </c:pt>
                <c:pt idx="54">
                  <c:v>9713.6275855082858</c:v>
                </c:pt>
                <c:pt idx="55">
                  <c:v>9921.318693484709</c:v>
                </c:pt>
                <c:pt idx="56">
                  <c:v>10132.834752396189</c:v>
                </c:pt>
                <c:pt idx="57">
                  <c:v>10348.194702934734</c:v>
                </c:pt>
                <c:pt idx="58">
                  <c:v>10567.4580460978</c:v>
                </c:pt>
                <c:pt idx="59">
                  <c:v>10790.685309362869</c:v>
                </c:pt>
                <c:pt idx="60">
                  <c:v>11017.9697516029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1</c:v>
                </c:pt>
                <c:pt idx="1">
                  <c:v>74</c:v>
                </c:pt>
                <c:pt idx="2">
                  <c:v>112</c:v>
                </c:pt>
                <c:pt idx="3">
                  <c:v>139</c:v>
                </c:pt>
                <c:pt idx="4">
                  <c:v>175</c:v>
                </c:pt>
                <c:pt idx="5">
                  <c:v>199</c:v>
                </c:pt>
                <c:pt idx="6">
                  <c:v>233</c:v>
                </c:pt>
                <c:pt idx="7">
                  <c:v>269</c:v>
                </c:pt>
                <c:pt idx="8">
                  <c:v>290</c:v>
                </c:pt>
                <c:pt idx="9">
                  <c:v>325</c:v>
                </c:pt>
                <c:pt idx="10">
                  <c:v>358</c:v>
                </c:pt>
                <c:pt idx="11">
                  <c:v>399</c:v>
                </c:pt>
                <c:pt idx="12">
                  <c:v>444</c:v>
                </c:pt>
                <c:pt idx="13">
                  <c:v>475</c:v>
                </c:pt>
                <c:pt idx="14">
                  <c:v>510</c:v>
                </c:pt>
                <c:pt idx="15">
                  <c:v>548</c:v>
                </c:pt>
                <c:pt idx="16">
                  <c:v>582</c:v>
                </c:pt>
                <c:pt idx="17">
                  <c:v>611</c:v>
                </c:pt>
                <c:pt idx="18">
                  <c:v>635</c:v>
                </c:pt>
                <c:pt idx="19">
                  <c:v>661</c:v>
                </c:pt>
                <c:pt idx="20">
                  <c:v>692</c:v>
                </c:pt>
                <c:pt idx="21">
                  <c:v>725</c:v>
                </c:pt>
                <c:pt idx="22">
                  <c:v>768</c:v>
                </c:pt>
                <c:pt idx="23">
                  <c:v>795</c:v>
                </c:pt>
                <c:pt idx="24">
                  <c:v>827</c:v>
                </c:pt>
                <c:pt idx="25">
                  <c:v>851</c:v>
                </c:pt>
                <c:pt idx="26">
                  <c:v>871</c:v>
                </c:pt>
                <c:pt idx="27">
                  <c:v>909</c:v>
                </c:pt>
                <c:pt idx="28">
                  <c:v>928</c:v>
                </c:pt>
                <c:pt idx="29">
                  <c:v>952</c:v>
                </c:pt>
                <c:pt idx="30">
                  <c:v>971</c:v>
                </c:pt>
                <c:pt idx="31">
                  <c:v>992</c:v>
                </c:pt>
                <c:pt idx="32">
                  <c:v>1006</c:v>
                </c:pt>
                <c:pt idx="33">
                  <c:v>1018</c:v>
                </c:pt>
                <c:pt idx="34">
                  <c:v>1035</c:v>
                </c:pt>
                <c:pt idx="35">
                  <c:v>1047</c:v>
                </c:pt>
                <c:pt idx="36">
                  <c:v>1062</c:v>
                </c:pt>
                <c:pt idx="37">
                  <c:v>1078</c:v>
                </c:pt>
                <c:pt idx="38">
                  <c:v>1102</c:v>
                </c:pt>
                <c:pt idx="39">
                  <c:v>1110</c:v>
                </c:pt>
                <c:pt idx="40">
                  <c:v>1122</c:v>
                </c:pt>
                <c:pt idx="41">
                  <c:v>1132</c:v>
                </c:pt>
                <c:pt idx="42">
                  <c:v>1147</c:v>
                </c:pt>
                <c:pt idx="43">
                  <c:v>1169</c:v>
                </c:pt>
                <c:pt idx="44">
                  <c:v>1183</c:v>
                </c:pt>
                <c:pt idx="45">
                  <c:v>1195</c:v>
                </c:pt>
                <c:pt idx="46">
                  <c:v>1206</c:v>
                </c:pt>
                <c:pt idx="47">
                  <c:v>1211</c:v>
                </c:pt>
                <c:pt idx="48">
                  <c:v>1221</c:v>
                </c:pt>
                <c:pt idx="49">
                  <c:v>1234</c:v>
                </c:pt>
                <c:pt idx="50">
                  <c:v>1246</c:v>
                </c:pt>
                <c:pt idx="51">
                  <c:v>1254</c:v>
                </c:pt>
                <c:pt idx="52">
                  <c:v>1267</c:v>
                </c:pt>
                <c:pt idx="53">
                  <c:v>127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89.43284527460924</c:v>
                </c:pt>
                <c:pt idx="32">
                  <c:v>1009.2961736383979</c:v>
                </c:pt>
                <c:pt idx="33">
                  <c:v>1028.6794657056082</c:v>
                </c:pt>
                <c:pt idx="34">
                  <c:v>1047.8161917547645</c:v>
                </c:pt>
                <c:pt idx="35">
                  <c:v>1066.6697591177094</c:v>
                </c:pt>
                <c:pt idx="36">
                  <c:v>1085.089164309572</c:v>
                </c:pt>
                <c:pt idx="37">
                  <c:v>1103.0145642967861</c:v>
                </c:pt>
                <c:pt idx="38">
                  <c:v>1120.4864005267821</c:v>
                </c:pt>
                <c:pt idx="39">
                  <c:v>1137.3990204304923</c:v>
                </c:pt>
                <c:pt idx="40">
                  <c:v>1153.7357763969299</c:v>
                </c:pt>
                <c:pt idx="41">
                  <c:v>1169.5350449995624</c:v>
                </c:pt>
                <c:pt idx="42">
                  <c:v>1184.7551326067157</c:v>
                </c:pt>
                <c:pt idx="43">
                  <c:v>1199.3363940131669</c:v>
                </c:pt>
                <c:pt idx="44">
                  <c:v>1213.2593718123185</c:v>
                </c:pt>
                <c:pt idx="45">
                  <c:v>1226.5335815877036</c:v>
                </c:pt>
                <c:pt idx="46">
                  <c:v>1239.1983889895273</c:v>
                </c:pt>
                <c:pt idx="47">
                  <c:v>1251.3004123391438</c:v>
                </c:pt>
                <c:pt idx="48">
                  <c:v>1262.8630706793781</c:v>
                </c:pt>
                <c:pt idx="49">
                  <c:v>1273.8777311542135</c:v>
                </c:pt>
                <c:pt idx="50">
                  <c:v>1284.3632273673011</c:v>
                </c:pt>
                <c:pt idx="51">
                  <c:v>1294.3547058071231</c:v>
                </c:pt>
                <c:pt idx="52">
                  <c:v>1303.876462060852</c:v>
                </c:pt>
                <c:pt idx="53">
                  <c:v>1312.939414460395</c:v>
                </c:pt>
                <c:pt idx="54">
                  <c:v>1321.5681517046487</c:v>
                </c:pt>
                <c:pt idx="55">
                  <c:v>1329.794541385651</c:v>
                </c:pt>
                <c:pt idx="56">
                  <c:v>1337.635954361195</c:v>
                </c:pt>
                <c:pt idx="57">
                  <c:v>1345.1099642388856</c:v>
                </c:pt>
                <c:pt idx="58">
                  <c:v>1352.2346791111574</c:v>
                </c:pt>
                <c:pt idx="59">
                  <c:v>1359.0228808546485</c:v>
                </c:pt>
                <c:pt idx="60">
                  <c:v>1365.49193831058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989.64768745019262</c:v>
                </c:pt>
                <c:pt idx="32">
                  <c:v>1009.9329756104772</c:v>
                </c:pt>
                <c:pt idx="33">
                  <c:v>1029.9224367820148</c:v>
                </c:pt>
                <c:pt idx="34">
                  <c:v>1049.8353606689386</c:v>
                </c:pt>
                <c:pt idx="35">
                  <c:v>1069.662965227247</c:v>
                </c:pt>
                <c:pt idx="36">
                  <c:v>1089.2838840619638</c:v>
                </c:pt>
                <c:pt idx="37">
                  <c:v>1108.6666106257217</c:v>
                </c:pt>
                <c:pt idx="38">
                  <c:v>1127.8711777216979</c:v>
                </c:pt>
                <c:pt idx="39">
                  <c:v>1146.7732976324189</c:v>
                </c:pt>
                <c:pt idx="40">
                  <c:v>1165.3414987737378</c:v>
                </c:pt>
                <c:pt idx="41">
                  <c:v>1183.6118568653358</c:v>
                </c:pt>
                <c:pt idx="42">
                  <c:v>1201.5390282221242</c:v>
                </c:pt>
                <c:pt idx="43">
                  <c:v>1219.0540720960628</c:v>
                </c:pt>
                <c:pt idx="44">
                  <c:v>1236.1243500970304</c:v>
                </c:pt>
                <c:pt idx="45">
                  <c:v>1252.7428576027826</c:v>
                </c:pt>
                <c:pt idx="46">
                  <c:v>1268.927070221373</c:v>
                </c:pt>
                <c:pt idx="47">
                  <c:v>1284.7081032936765</c:v>
                </c:pt>
                <c:pt idx="48">
                  <c:v>1300.0961593705401</c:v>
                </c:pt>
                <c:pt idx="49">
                  <c:v>1315.0704814555786</c:v>
                </c:pt>
                <c:pt idx="50">
                  <c:v>1329.6368698308497</c:v>
                </c:pt>
                <c:pt idx="51">
                  <c:v>1343.8143858688861</c:v>
                </c:pt>
                <c:pt idx="52">
                  <c:v>1357.6126494587033</c:v>
                </c:pt>
                <c:pt idx="53">
                  <c:v>1371.0293671233665</c:v>
                </c:pt>
                <c:pt idx="54">
                  <c:v>1384.0789268048852</c:v>
                </c:pt>
                <c:pt idx="55">
                  <c:v>1396.7836353575558</c:v>
                </c:pt>
                <c:pt idx="56">
                  <c:v>1409.1497530239769</c:v>
                </c:pt>
                <c:pt idx="57">
                  <c:v>1421.1851222043538</c:v>
                </c:pt>
                <c:pt idx="58">
                  <c:v>1432.8991353894094</c:v>
                </c:pt>
                <c:pt idx="59">
                  <c:v>1444.2958930813274</c:v>
                </c:pt>
                <c:pt idx="60">
                  <c:v>1455.3854356763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89.86252962577589</c:v>
                </c:pt>
                <c:pt idx="32">
                  <c:v>1010.570453186882</c:v>
                </c:pt>
                <c:pt idx="33">
                  <c:v>1031.1676908198779</c:v>
                </c:pt>
                <c:pt idx="34">
                  <c:v>1051.8582046962683</c:v>
                </c:pt>
                <c:pt idx="35">
                  <c:v>1072.6722029808591</c:v>
                </c:pt>
                <c:pt idx="36">
                  <c:v>1093.5275088790775</c:v>
                </c:pt>
                <c:pt idx="37">
                  <c:v>1114.4309921470408</c:v>
                </c:pt>
                <c:pt idx="38">
                  <c:v>1135.4703707386466</c:v>
                </c:pt>
                <c:pt idx="39">
                  <c:v>1156.5061445490323</c:v>
                </c:pt>
                <c:pt idx="40">
                  <c:v>1177.4960447889111</c:v>
                </c:pt>
                <c:pt idx="41">
                  <c:v>1198.4844410287644</c:v>
                </c:pt>
                <c:pt idx="42">
                  <c:v>1219.4360736316389</c:v>
                </c:pt>
                <c:pt idx="43">
                  <c:v>1240.285441662885</c:v>
                </c:pt>
                <c:pt idx="44">
                  <c:v>1260.9915885053197</c:v>
                </c:pt>
                <c:pt idx="45">
                  <c:v>1281.5368140397452</c:v>
                </c:pt>
                <c:pt idx="46">
                  <c:v>1301.9236977315152</c:v>
                </c:pt>
                <c:pt idx="47">
                  <c:v>1322.1748377929277</c:v>
                </c:pt>
                <c:pt idx="48">
                  <c:v>1342.2960478436039</c:v>
                </c:pt>
                <c:pt idx="49">
                  <c:v>1362.2617215474615</c:v>
                </c:pt>
                <c:pt idx="50">
                  <c:v>1382.0665465112052</c:v>
                </c:pt>
                <c:pt idx="51">
                  <c:v>1401.7175195221516</c:v>
                </c:pt>
                <c:pt idx="52">
                  <c:v>1421.2134554193333</c:v>
                </c:pt>
                <c:pt idx="53">
                  <c:v>1440.5431015728384</c:v>
                </c:pt>
                <c:pt idx="54">
                  <c:v>1459.7136075743056</c:v>
                </c:pt>
                <c:pt idx="55">
                  <c:v>1478.7396092916092</c:v>
                </c:pt>
                <c:pt idx="56">
                  <c:v>1497.6187209467648</c:v>
                </c:pt>
                <c:pt idx="57">
                  <c:v>1516.3493590801304</c:v>
                </c:pt>
                <c:pt idx="58">
                  <c:v>1534.9329695990245</c:v>
                </c:pt>
                <c:pt idx="59">
                  <c:v>1553.3657346179862</c:v>
                </c:pt>
                <c:pt idx="60">
                  <c:v>1571.6502306922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990.18546849347661</c:v>
                </c:pt>
                <c:pt idx="32">
                  <c:v>1011.5272635021311</c:v>
                </c:pt>
                <c:pt idx="33">
                  <c:v>1033.0348907948387</c:v>
                </c:pt>
                <c:pt idx="34">
                  <c:v>1054.890368434845</c:v>
                </c:pt>
                <c:pt idx="35">
                  <c:v>1077.202179854987</c:v>
                </c:pt>
                <c:pt idx="36">
                  <c:v>1099.9679797813003</c:v>
                </c:pt>
                <c:pt idx="37">
                  <c:v>1123.2684295213608</c:v>
                </c:pt>
                <c:pt idx="38">
                  <c:v>1147.249233455977</c:v>
                </c:pt>
                <c:pt idx="39">
                  <c:v>1171.7502145215869</c:v>
                </c:pt>
                <c:pt idx="40">
                  <c:v>1196.7310566515882</c:v>
                </c:pt>
                <c:pt idx="41">
                  <c:v>1222.2733161252627</c:v>
                </c:pt>
                <c:pt idx="42">
                  <c:v>1248.391258291223</c:v>
                </c:pt>
                <c:pt idx="43">
                  <c:v>1275.0455459191394</c:v>
                </c:pt>
                <c:pt idx="44">
                  <c:v>1302.2031585095358</c:v>
                </c:pt>
                <c:pt idx="45">
                  <c:v>1329.8482037663096</c:v>
                </c:pt>
                <c:pt idx="46">
                  <c:v>1357.9809112445332</c:v>
                </c:pt>
                <c:pt idx="47">
                  <c:v>1386.6394996570252</c:v>
                </c:pt>
                <c:pt idx="48">
                  <c:v>1415.852701916205</c:v>
                </c:pt>
                <c:pt idx="49">
                  <c:v>1445.6110968517214</c:v>
                </c:pt>
                <c:pt idx="50">
                  <c:v>1475.9139073356916</c:v>
                </c:pt>
                <c:pt idx="51">
                  <c:v>1506.7702452956164</c:v>
                </c:pt>
                <c:pt idx="52">
                  <c:v>1538.1829697267467</c:v>
                </c:pt>
                <c:pt idx="53">
                  <c:v>1570.1526788875406</c:v>
                </c:pt>
                <c:pt idx="54">
                  <c:v>1602.7016725164228</c:v>
                </c:pt>
                <c:pt idx="55">
                  <c:v>1635.8567998656843</c:v>
                </c:pt>
                <c:pt idx="56">
                  <c:v>1669.6218289958626</c:v>
                </c:pt>
                <c:pt idx="57">
                  <c:v>1704.0006383851342</c:v>
                </c:pt>
                <c:pt idx="58">
                  <c:v>1739.0026040274342</c:v>
                </c:pt>
                <c:pt idx="59">
                  <c:v>1774.6371675554128</c:v>
                </c:pt>
                <c:pt idx="60">
                  <c:v>1810.9194097286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9</c:v>
                </c:pt>
                <c:pt idx="1">
                  <c:v>40</c:v>
                </c:pt>
                <c:pt idx="2">
                  <c:v>66</c:v>
                </c:pt>
                <c:pt idx="3">
                  <c:v>83</c:v>
                </c:pt>
                <c:pt idx="4">
                  <c:v>115</c:v>
                </c:pt>
                <c:pt idx="5">
                  <c:v>132</c:v>
                </c:pt>
                <c:pt idx="6">
                  <c:v>145</c:v>
                </c:pt>
                <c:pt idx="7">
                  <c:v>164</c:v>
                </c:pt>
                <c:pt idx="8">
                  <c:v>185</c:v>
                </c:pt>
                <c:pt idx="9">
                  <c:v>217</c:v>
                </c:pt>
                <c:pt idx="10">
                  <c:v>244</c:v>
                </c:pt>
                <c:pt idx="11">
                  <c:v>260</c:v>
                </c:pt>
                <c:pt idx="12">
                  <c:v>272</c:v>
                </c:pt>
                <c:pt idx="13">
                  <c:v>297</c:v>
                </c:pt>
                <c:pt idx="14">
                  <c:v>325</c:v>
                </c:pt>
                <c:pt idx="15">
                  <c:v>343</c:v>
                </c:pt>
                <c:pt idx="16">
                  <c:v>364</c:v>
                </c:pt>
                <c:pt idx="17">
                  <c:v>383</c:v>
                </c:pt>
                <c:pt idx="18">
                  <c:v>397</c:v>
                </c:pt>
                <c:pt idx="19">
                  <c:v>413</c:v>
                </c:pt>
                <c:pt idx="20">
                  <c:v>429</c:v>
                </c:pt>
                <c:pt idx="21">
                  <c:v>442</c:v>
                </c:pt>
                <c:pt idx="22">
                  <c:v>465</c:v>
                </c:pt>
                <c:pt idx="23">
                  <c:v>485</c:v>
                </c:pt>
                <c:pt idx="24">
                  <c:v>501</c:v>
                </c:pt>
                <c:pt idx="25">
                  <c:v>515</c:v>
                </c:pt>
                <c:pt idx="26">
                  <c:v>534</c:v>
                </c:pt>
                <c:pt idx="27">
                  <c:v>543</c:v>
                </c:pt>
                <c:pt idx="28">
                  <c:v>555</c:v>
                </c:pt>
                <c:pt idx="29">
                  <c:v>573</c:v>
                </c:pt>
                <c:pt idx="30">
                  <c:v>591</c:v>
                </c:pt>
                <c:pt idx="31">
                  <c:v>605</c:v>
                </c:pt>
                <c:pt idx="32">
                  <c:v>616</c:v>
                </c:pt>
                <c:pt idx="33">
                  <c:v>624</c:v>
                </c:pt>
                <c:pt idx="34">
                  <c:v>638</c:v>
                </c:pt>
                <c:pt idx="35">
                  <c:v>645</c:v>
                </c:pt>
                <c:pt idx="36">
                  <c:v>658</c:v>
                </c:pt>
                <c:pt idx="37">
                  <c:v>667</c:v>
                </c:pt>
                <c:pt idx="38">
                  <c:v>679</c:v>
                </c:pt>
                <c:pt idx="39">
                  <c:v>688</c:v>
                </c:pt>
                <c:pt idx="40">
                  <c:v>699</c:v>
                </c:pt>
                <c:pt idx="41">
                  <c:v>708</c:v>
                </c:pt>
                <c:pt idx="42">
                  <c:v>712</c:v>
                </c:pt>
                <c:pt idx="43">
                  <c:v>722</c:v>
                </c:pt>
                <c:pt idx="44">
                  <c:v>729</c:v>
                </c:pt>
                <c:pt idx="45">
                  <c:v>739</c:v>
                </c:pt>
                <c:pt idx="46">
                  <c:v>748</c:v>
                </c:pt>
                <c:pt idx="47">
                  <c:v>750</c:v>
                </c:pt>
                <c:pt idx="48">
                  <c:v>755</c:v>
                </c:pt>
                <c:pt idx="49">
                  <c:v>762</c:v>
                </c:pt>
                <c:pt idx="50">
                  <c:v>766</c:v>
                </c:pt>
                <c:pt idx="51">
                  <c:v>771</c:v>
                </c:pt>
                <c:pt idx="52">
                  <c:v>777</c:v>
                </c:pt>
                <c:pt idx="53">
                  <c:v>78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96.77384941231651</c:v>
                </c:pt>
                <c:pt idx="32">
                  <c:v>608.24261050719474</c:v>
                </c:pt>
                <c:pt idx="33">
                  <c:v>619.44016057342208</c:v>
                </c:pt>
                <c:pt idx="34">
                  <c:v>630.48828917718038</c:v>
                </c:pt>
                <c:pt idx="35">
                  <c:v>641.36874356414671</c:v>
                </c:pt>
                <c:pt idx="36">
                  <c:v>651.99959637301833</c:v>
                </c:pt>
                <c:pt idx="37">
                  <c:v>662.34182413594749</c:v>
                </c:pt>
                <c:pt idx="38">
                  <c:v>672.41900787241366</c:v>
                </c:pt>
                <c:pt idx="39">
                  <c:v>682.17800406543665</c:v>
                </c:pt>
                <c:pt idx="40">
                  <c:v>691.6063979326799</c:v>
                </c:pt>
                <c:pt idx="41">
                  <c:v>700.72294648028321</c:v>
                </c:pt>
                <c:pt idx="42">
                  <c:v>709.50384562120644</c:v>
                </c:pt>
                <c:pt idx="43">
                  <c:v>717.91539655135375</c:v>
                </c:pt>
                <c:pt idx="44">
                  <c:v>725.94875471450621</c:v>
                </c:pt>
                <c:pt idx="45">
                  <c:v>733.60905582730288</c:v>
                </c:pt>
                <c:pt idx="46">
                  <c:v>740.91837329939767</c:v>
                </c:pt>
                <c:pt idx="47">
                  <c:v>747.90309096014346</c:v>
                </c:pt>
                <c:pt idx="48">
                  <c:v>754.57724517498218</c:v>
                </c:pt>
                <c:pt idx="49">
                  <c:v>760.93504612487504</c:v>
                </c:pt>
                <c:pt idx="50">
                  <c:v>766.98623118540263</c:v>
                </c:pt>
                <c:pt idx="51">
                  <c:v>772.75256978297534</c:v>
                </c:pt>
                <c:pt idx="52">
                  <c:v>778.24939885168499</c:v>
                </c:pt>
                <c:pt idx="53">
                  <c:v>783.48175733143557</c:v>
                </c:pt>
                <c:pt idx="54">
                  <c:v>788.46269796375157</c:v>
                </c:pt>
                <c:pt idx="55">
                  <c:v>793.2112696588955</c:v>
                </c:pt>
                <c:pt idx="56">
                  <c:v>797.73810062678569</c:v>
                </c:pt>
                <c:pt idx="57">
                  <c:v>802.05287893852312</c:v>
                </c:pt>
                <c:pt idx="58">
                  <c:v>806.1661026290775</c:v>
                </c:pt>
                <c:pt idx="59">
                  <c:v>810.08516180867741</c:v>
                </c:pt>
                <c:pt idx="60">
                  <c:v>813.819942294636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596.89865620578291</c:v>
                </c:pt>
                <c:pt idx="32">
                  <c:v>608.61287062492113</c:v>
                </c:pt>
                <c:pt idx="33">
                  <c:v>620.16261313021403</c:v>
                </c:pt>
                <c:pt idx="34">
                  <c:v>631.6617841214686</c:v>
                </c:pt>
                <c:pt idx="35">
                  <c:v>643.10829304160598</c:v>
                </c:pt>
                <c:pt idx="36">
                  <c:v>654.43675340867139</c:v>
                </c:pt>
                <c:pt idx="37">
                  <c:v>665.62407990102702</c:v>
                </c:pt>
                <c:pt idx="38">
                  <c:v>676.70515446562672</c:v>
                </c:pt>
                <c:pt idx="39">
                  <c:v>687.61615744672315</c:v>
                </c:pt>
                <c:pt idx="40">
                  <c:v>698.33587317400793</c:v>
                </c:pt>
                <c:pt idx="41">
                  <c:v>708.88165488310392</c:v>
                </c:pt>
                <c:pt idx="42">
                  <c:v>719.22789813247152</c:v>
                </c:pt>
                <c:pt idx="43">
                  <c:v>729.33539922728141</c:v>
                </c:pt>
                <c:pt idx="44">
                  <c:v>739.18762232534459</c:v>
                </c:pt>
                <c:pt idx="45">
                  <c:v>748.78019800875086</c:v>
                </c:pt>
                <c:pt idx="46">
                  <c:v>758.12268181935178</c:v>
                </c:pt>
                <c:pt idx="47">
                  <c:v>767.2325600117673</c:v>
                </c:pt>
                <c:pt idx="48">
                  <c:v>776.11621542872501</c:v>
                </c:pt>
                <c:pt idx="49">
                  <c:v>784.76091732965619</c:v>
                </c:pt>
                <c:pt idx="50">
                  <c:v>793.16888940947933</c:v>
                </c:pt>
                <c:pt idx="51">
                  <c:v>801.35263459111229</c:v>
                </c:pt>
                <c:pt idx="52">
                  <c:v>809.31897710520013</c:v>
                </c:pt>
                <c:pt idx="53">
                  <c:v>817.06534655485405</c:v>
                </c:pt>
                <c:pt idx="54">
                  <c:v>824.59895824918465</c:v>
                </c:pt>
                <c:pt idx="55">
                  <c:v>831.93340277676486</c:v>
                </c:pt>
                <c:pt idx="56">
                  <c:v>839.07286875126556</c:v>
                </c:pt>
                <c:pt idx="57">
                  <c:v>846.02138156324963</c:v>
                </c:pt>
                <c:pt idx="58">
                  <c:v>852.78442650163925</c:v>
                </c:pt>
                <c:pt idx="59">
                  <c:v>859.36441727186252</c:v>
                </c:pt>
                <c:pt idx="60">
                  <c:v>865.76700625608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97.02346299924909</c:v>
                </c:pt>
                <c:pt idx="32">
                  <c:v>608.98352321684069</c:v>
                </c:pt>
                <c:pt idx="33">
                  <c:v>620.88639294081509</c:v>
                </c:pt>
                <c:pt idx="34">
                  <c:v>632.83741565194578</c:v>
                </c:pt>
                <c:pt idx="35">
                  <c:v>644.85715616258949</c:v>
                </c:pt>
                <c:pt idx="36">
                  <c:v>656.90233866754636</c:v>
                </c:pt>
                <c:pt idx="37">
                  <c:v>668.97162809455119</c:v>
                </c:pt>
                <c:pt idx="38">
                  <c:v>681.11591490216074</c:v>
                </c:pt>
                <c:pt idx="39">
                  <c:v>693.2626941683385</c:v>
                </c:pt>
                <c:pt idx="40">
                  <c:v>705.38425275751263</c:v>
                </c:pt>
                <c:pt idx="41">
                  <c:v>717.50264713017918</c:v>
                </c:pt>
                <c:pt idx="42">
                  <c:v>729.59839542400732</c:v>
                </c:pt>
                <c:pt idx="43">
                  <c:v>741.63413157421587</c:v>
                </c:pt>
                <c:pt idx="44">
                  <c:v>753.58841070582412</c:v>
                </c:pt>
                <c:pt idx="45">
                  <c:v>765.45070434301442</c:v>
                </c:pt>
                <c:pt idx="46">
                  <c:v>777.22210427643336</c:v>
                </c:pt>
                <c:pt idx="47">
                  <c:v>788.91520934641892</c:v>
                </c:pt>
                <c:pt idx="48">
                  <c:v>800.53382343167846</c:v>
                </c:pt>
                <c:pt idx="49">
                  <c:v>812.06247657375002</c:v>
                </c:pt>
                <c:pt idx="50">
                  <c:v>823.49696953527416</c:v>
                </c:pt>
                <c:pt idx="51">
                  <c:v>834.8428492694452</c:v>
                </c:pt>
                <c:pt idx="52">
                  <c:v>846.10066962239125</c:v>
                </c:pt>
                <c:pt idx="53">
                  <c:v>857.26270423480901</c:v>
                </c:pt>
                <c:pt idx="54">
                  <c:v>868.33203616487037</c:v>
                </c:pt>
                <c:pt idx="55">
                  <c:v>879.31787921821149</c:v>
                </c:pt>
                <c:pt idx="56">
                  <c:v>890.21940799365484</c:v>
                </c:pt>
                <c:pt idx="57">
                  <c:v>901.03515988566892</c:v>
                </c:pt>
                <c:pt idx="58">
                  <c:v>911.7660403941677</c:v>
                </c:pt>
                <c:pt idx="59">
                  <c:v>922.40993452243265</c:v>
                </c:pt>
                <c:pt idx="60">
                  <c:v>932.96818425422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97.21106566364188</c:v>
                </c:pt>
                <c:pt idx="32">
                  <c:v>609.5398481730457</c:v>
                </c:pt>
                <c:pt idx="33">
                  <c:v>621.97166605676955</c:v>
                </c:pt>
                <c:pt idx="34">
                  <c:v>634.59964014946502</c:v>
                </c:pt>
                <c:pt idx="35">
                  <c:v>647.4898150627223</c:v>
                </c:pt>
                <c:pt idx="36">
                  <c:v>660.6443321796952</c:v>
                </c:pt>
                <c:pt idx="37">
                  <c:v>674.10389145576278</c:v>
                </c:pt>
                <c:pt idx="38">
                  <c:v>687.95296195724461</c:v>
                </c:pt>
                <c:pt idx="39">
                  <c:v>702.10726802955219</c:v>
                </c:pt>
                <c:pt idx="40">
                  <c:v>716.53980779836252</c:v>
                </c:pt>
                <c:pt idx="41">
                  <c:v>731.29399957761461</c:v>
                </c:pt>
                <c:pt idx="42">
                  <c:v>746.37940028606022</c:v>
                </c:pt>
                <c:pt idx="43">
                  <c:v>761.7735066630396</c:v>
                </c:pt>
                <c:pt idx="44">
                  <c:v>777.45928033073733</c:v>
                </c:pt>
                <c:pt idx="45">
                  <c:v>793.42727061485198</c:v>
                </c:pt>
                <c:pt idx="46">
                  <c:v>809.67740888961578</c:v>
                </c:pt>
                <c:pt idx="47">
                  <c:v>826.2313344309656</c:v>
                </c:pt>
                <c:pt idx="48">
                  <c:v>843.10602070204789</c:v>
                </c:pt>
                <c:pt idx="49">
                  <c:v>860.29542118221275</c:v>
                </c:pt>
                <c:pt idx="50">
                  <c:v>877.79792333666273</c:v>
                </c:pt>
                <c:pt idx="51">
                  <c:v>895.62032424571476</c:v>
                </c:pt>
                <c:pt idx="52">
                  <c:v>913.76545784635698</c:v>
                </c:pt>
                <c:pt idx="53">
                  <c:v>932.23247000938841</c:v>
                </c:pt>
                <c:pt idx="54">
                  <c:v>951.03325852160617</c:v>
                </c:pt>
                <c:pt idx="55">
                  <c:v>970.18416321580162</c:v>
                </c:pt>
                <c:pt idx="56">
                  <c:v>989.68786878809135</c:v>
                </c:pt>
                <c:pt idx="57">
                  <c:v>1009.5459905655864</c:v>
                </c:pt>
                <c:pt idx="58">
                  <c:v>1029.7640338555302</c:v>
                </c:pt>
                <c:pt idx="59">
                  <c:v>1050.3476136870629</c:v>
                </c:pt>
                <c:pt idx="60">
                  <c:v>1071.30529968217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5</c:v>
                </c:pt>
                <c:pt idx="1">
                  <c:v>23</c:v>
                </c:pt>
                <c:pt idx="2">
                  <c:v>36</c:v>
                </c:pt>
                <c:pt idx="3">
                  <c:v>51</c:v>
                </c:pt>
                <c:pt idx="4">
                  <c:v>66</c:v>
                </c:pt>
                <c:pt idx="5">
                  <c:v>78</c:v>
                </c:pt>
                <c:pt idx="6">
                  <c:v>95</c:v>
                </c:pt>
                <c:pt idx="7">
                  <c:v>110</c:v>
                </c:pt>
                <c:pt idx="8">
                  <c:v>126</c:v>
                </c:pt>
                <c:pt idx="9">
                  <c:v>137</c:v>
                </c:pt>
                <c:pt idx="10">
                  <c:v>156</c:v>
                </c:pt>
                <c:pt idx="11">
                  <c:v>170</c:v>
                </c:pt>
                <c:pt idx="12">
                  <c:v>182</c:v>
                </c:pt>
                <c:pt idx="13">
                  <c:v>196</c:v>
                </c:pt>
                <c:pt idx="14">
                  <c:v>209</c:v>
                </c:pt>
                <c:pt idx="15">
                  <c:v>228</c:v>
                </c:pt>
                <c:pt idx="16">
                  <c:v>244</c:v>
                </c:pt>
                <c:pt idx="17">
                  <c:v>255</c:v>
                </c:pt>
                <c:pt idx="18">
                  <c:v>266</c:v>
                </c:pt>
                <c:pt idx="19">
                  <c:v>277</c:v>
                </c:pt>
                <c:pt idx="20">
                  <c:v>288</c:v>
                </c:pt>
                <c:pt idx="21">
                  <c:v>297</c:v>
                </c:pt>
                <c:pt idx="22">
                  <c:v>310</c:v>
                </c:pt>
                <c:pt idx="23">
                  <c:v>321</c:v>
                </c:pt>
                <c:pt idx="24">
                  <c:v>331</c:v>
                </c:pt>
                <c:pt idx="25">
                  <c:v>342</c:v>
                </c:pt>
                <c:pt idx="26">
                  <c:v>354</c:v>
                </c:pt>
                <c:pt idx="27">
                  <c:v>360</c:v>
                </c:pt>
                <c:pt idx="28">
                  <c:v>374</c:v>
                </c:pt>
                <c:pt idx="29">
                  <c:v>383</c:v>
                </c:pt>
                <c:pt idx="30">
                  <c:v>393</c:v>
                </c:pt>
                <c:pt idx="31">
                  <c:v>400</c:v>
                </c:pt>
                <c:pt idx="32">
                  <c:v>406</c:v>
                </c:pt>
                <c:pt idx="33">
                  <c:v>424</c:v>
                </c:pt>
                <c:pt idx="34">
                  <c:v>430</c:v>
                </c:pt>
                <c:pt idx="35">
                  <c:v>441</c:v>
                </c:pt>
                <c:pt idx="36">
                  <c:v>447</c:v>
                </c:pt>
                <c:pt idx="37">
                  <c:v>461</c:v>
                </c:pt>
                <c:pt idx="38">
                  <c:v>470</c:v>
                </c:pt>
                <c:pt idx="39">
                  <c:v>479</c:v>
                </c:pt>
                <c:pt idx="40">
                  <c:v>486</c:v>
                </c:pt>
                <c:pt idx="41">
                  <c:v>495</c:v>
                </c:pt>
                <c:pt idx="42">
                  <c:v>503</c:v>
                </c:pt>
                <c:pt idx="43">
                  <c:v>515</c:v>
                </c:pt>
                <c:pt idx="44">
                  <c:v>522</c:v>
                </c:pt>
                <c:pt idx="45">
                  <c:v>528</c:v>
                </c:pt>
                <c:pt idx="46">
                  <c:v>532</c:v>
                </c:pt>
                <c:pt idx="47">
                  <c:v>537</c:v>
                </c:pt>
                <c:pt idx="48">
                  <c:v>542</c:v>
                </c:pt>
                <c:pt idx="49">
                  <c:v>547</c:v>
                </c:pt>
                <c:pt idx="50">
                  <c:v>555</c:v>
                </c:pt>
                <c:pt idx="51">
                  <c:v>560</c:v>
                </c:pt>
                <c:pt idx="52">
                  <c:v>566</c:v>
                </c:pt>
                <c:pt idx="53">
                  <c:v>56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00.19296760517796</c:v>
                </c:pt>
                <c:pt idx="32">
                  <c:v>408.16708797229347</c:v>
                </c:pt>
                <c:pt idx="33">
                  <c:v>415.95095203374194</c:v>
                </c:pt>
                <c:pt idx="34">
                  <c:v>423.63292328065671</c:v>
                </c:pt>
                <c:pt idx="35">
                  <c:v>431.19949663693228</c:v>
                </c:pt>
                <c:pt idx="36">
                  <c:v>438.59221957127534</c:v>
                </c:pt>
                <c:pt idx="37">
                  <c:v>445.78522539548442</c:v>
                </c:pt>
                <c:pt idx="38">
                  <c:v>452.79484442144832</c:v>
                </c:pt>
                <c:pt idx="39">
                  <c:v>459.5819013698183</c:v>
                </c:pt>
                <c:pt idx="40">
                  <c:v>466.13855793405514</c:v>
                </c:pt>
                <c:pt idx="41">
                  <c:v>472.47881865336137</c:v>
                </c:pt>
                <c:pt idx="42">
                  <c:v>478.58605656904649</c:v>
                </c:pt>
                <c:pt idx="43">
                  <c:v>484.43663187780766</c:v>
                </c:pt>
                <c:pt idx="44">
                  <c:v>490.02371837817242</c:v>
                </c:pt>
                <c:pt idx="45">
                  <c:v>495.35098837097269</c:v>
                </c:pt>
                <c:pt idx="46">
                  <c:v>500.4339749374293</c:v>
                </c:pt>
                <c:pt idx="47">
                  <c:v>505.29117336948701</c:v>
                </c:pt>
                <c:pt idx="48">
                  <c:v>509.93219731465456</c:v>
                </c:pt>
                <c:pt idx="49">
                  <c:v>514.3532491963515</c:v>
                </c:pt>
                <c:pt idx="50">
                  <c:v>518.56142120787979</c:v>
                </c:pt>
                <c:pt idx="51">
                  <c:v>522.57143138562537</c:v>
                </c:pt>
                <c:pt idx="52">
                  <c:v>526.39357270203686</c:v>
                </c:pt>
                <c:pt idx="53">
                  <c:v>530.031706896527</c:v>
                </c:pt>
                <c:pt idx="54">
                  <c:v>533.4952334373952</c:v>
                </c:pt>
                <c:pt idx="55">
                  <c:v>536.79721306666852</c:v>
                </c:pt>
                <c:pt idx="56">
                  <c:v>539.94486599887443</c:v>
                </c:pt>
                <c:pt idx="57">
                  <c:v>542.94505811932788</c:v>
                </c:pt>
                <c:pt idx="58">
                  <c:v>545.80507651632138</c:v>
                </c:pt>
                <c:pt idx="59">
                  <c:v>548.53005661367297</c:v>
                </c:pt>
                <c:pt idx="60">
                  <c:v>551.126912321458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400.27952926825452</c:v>
                </c:pt>
                <c:pt idx="32">
                  <c:v>408.42379549284908</c:v>
                </c:pt>
                <c:pt idx="33">
                  <c:v>416.45191260015645</c:v>
                </c:pt>
                <c:pt idx="34">
                  <c:v>424.44667431046764</c:v>
                </c:pt>
                <c:pt idx="35">
                  <c:v>432.40578329676566</c:v>
                </c:pt>
                <c:pt idx="36">
                  <c:v>440.28244944466519</c:v>
                </c:pt>
                <c:pt idx="37">
                  <c:v>448.06200744236395</c:v>
                </c:pt>
                <c:pt idx="38">
                  <c:v>455.76864808725617</c:v>
                </c:pt>
                <c:pt idx="39">
                  <c:v>463.35574944235384</c:v>
                </c:pt>
                <c:pt idx="40">
                  <c:v>470.80942248264762</c:v>
                </c:pt>
                <c:pt idx="41">
                  <c:v>478.14271703841013</c:v>
                </c:pt>
                <c:pt idx="42">
                  <c:v>485.33766742065427</c:v>
                </c:pt>
                <c:pt idx="43">
                  <c:v>492.36684534410887</c:v>
                </c:pt>
                <c:pt idx="44">
                  <c:v>499.21809980785736</c:v>
                </c:pt>
                <c:pt idx="45">
                  <c:v>505.88848483690333</c:v>
                </c:pt>
                <c:pt idx="46">
                  <c:v>512.38479567383695</c:v>
                </c:pt>
                <c:pt idx="47">
                  <c:v>518.71932603717505</c:v>
                </c:pt>
                <c:pt idx="48">
                  <c:v>524.89637453397927</c:v>
                </c:pt>
                <c:pt idx="49">
                  <c:v>530.90730082392884</c:v>
                </c:pt>
                <c:pt idx="50">
                  <c:v>536.75396964049287</c:v>
                </c:pt>
                <c:pt idx="51">
                  <c:v>542.44465022484019</c:v>
                </c:pt>
                <c:pt idx="52">
                  <c:v>547.98372784566334</c:v>
                </c:pt>
                <c:pt idx="53">
                  <c:v>553.36976817862694</c:v>
                </c:pt>
                <c:pt idx="54">
                  <c:v>558.60809716739641</c:v>
                </c:pt>
                <c:pt idx="55">
                  <c:v>563.70796291058662</c:v>
                </c:pt>
                <c:pt idx="56">
                  <c:v>568.67211517225144</c:v>
                </c:pt>
                <c:pt idx="57">
                  <c:v>573.5034950996311</c:v>
                </c:pt>
                <c:pt idx="58">
                  <c:v>578.20589894515524</c:v>
                </c:pt>
                <c:pt idx="59">
                  <c:v>582.78099187026748</c:v>
                </c:pt>
                <c:pt idx="60">
                  <c:v>587.2327449155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00.36609093133103</c:v>
                </c:pt>
                <c:pt idx="32">
                  <c:v>408.68077521989221</c:v>
                </c:pt>
                <c:pt idx="33">
                  <c:v>416.95379341429725</c:v>
                </c:pt>
                <c:pt idx="34">
                  <c:v>425.2619067442381</c:v>
                </c:pt>
                <c:pt idx="35">
                  <c:v>433.61852943871594</c:v>
                </c:pt>
                <c:pt idx="36">
                  <c:v>441.99239104302347</c:v>
                </c:pt>
                <c:pt idx="37">
                  <c:v>450.38406439621269</c:v>
                </c:pt>
                <c:pt idx="38">
                  <c:v>458.82886419100134</c:v>
                </c:pt>
                <c:pt idx="39">
                  <c:v>467.27410192611603</c:v>
                </c:pt>
                <c:pt idx="40">
                  <c:v>475.70144551259898</c:v>
                </c:pt>
                <c:pt idx="41">
                  <c:v>484.1272390995145</c:v>
                </c:pt>
                <c:pt idx="42">
                  <c:v>492.53768896502635</c:v>
                </c:pt>
                <c:pt idx="43">
                  <c:v>500.90668654659567</c:v>
                </c:pt>
                <c:pt idx="44">
                  <c:v>509.2186977163359</c:v>
                </c:pt>
                <c:pt idx="45">
                  <c:v>517.4664895363386</c:v>
                </c:pt>
                <c:pt idx="46">
                  <c:v>525.65093368212558</c:v>
                </c:pt>
                <c:pt idx="47">
                  <c:v>533.78091713832828</c:v>
                </c:pt>
                <c:pt idx="48">
                  <c:v>541.85895808665464</c:v>
                </c:pt>
                <c:pt idx="49">
                  <c:v>549.87449444457457</c:v>
                </c:pt>
                <c:pt idx="50">
                  <c:v>557.82492702628576</c:v>
                </c:pt>
                <c:pt idx="51">
                  <c:v>565.71368584337688</c:v>
                </c:pt>
                <c:pt idx="52">
                  <c:v>573.54080540871337</c:v>
                </c:pt>
                <c:pt idx="53">
                  <c:v>581.30126171955249</c:v>
                </c:pt>
                <c:pt idx="54">
                  <c:v>588.99749428172686</c:v>
                </c:pt>
                <c:pt idx="55">
                  <c:v>596.63569324450214</c:v>
                </c:pt>
                <c:pt idx="56">
                  <c:v>604.21512838843387</c:v>
                </c:pt>
                <c:pt idx="57">
                  <c:v>611.73493803731253</c:v>
                </c:pt>
                <c:pt idx="58">
                  <c:v>619.19573177062136</c:v>
                </c:pt>
                <c:pt idx="59">
                  <c:v>626.59601374165982</c:v>
                </c:pt>
                <c:pt idx="60">
                  <c:v>633.93675826649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00.49620563243354</c:v>
                </c:pt>
                <c:pt idx="32">
                  <c:v>409.06648454196397</c:v>
                </c:pt>
                <c:pt idx="33">
                  <c:v>417.70633983312757</c:v>
                </c:pt>
                <c:pt idx="34">
                  <c:v>426.48390773281074</c:v>
                </c:pt>
                <c:pt idx="35">
                  <c:v>435.44414346263011</c:v>
                </c:pt>
                <c:pt idx="36">
                  <c:v>444.5875461756753</c:v>
                </c:pt>
                <c:pt idx="37">
                  <c:v>453.94407694264754</c:v>
                </c:pt>
                <c:pt idx="38">
                  <c:v>463.57236953980515</c:v>
                </c:pt>
                <c:pt idx="39">
                  <c:v>473.41150387460107</c:v>
                </c:pt>
                <c:pt idx="40">
                  <c:v>483.44376023814738</c:v>
                </c:pt>
                <c:pt idx="41">
                  <c:v>493.70036637629045</c:v>
                </c:pt>
                <c:pt idx="42">
                  <c:v>504.18759327787353</c:v>
                </c:pt>
                <c:pt idx="43">
                  <c:v>514.88973534608704</c:v>
                </c:pt>
                <c:pt idx="44">
                  <c:v>525.79437199334416</c:v>
                </c:pt>
                <c:pt idx="45">
                  <c:v>536.89501004167846</c:v>
                </c:pt>
                <c:pt idx="46">
                  <c:v>548.19165873543204</c:v>
                </c:pt>
                <c:pt idx="47">
                  <c:v>559.69948472479041</c:v>
                </c:pt>
                <c:pt idx="48">
                  <c:v>571.4301808975224</c:v>
                </c:pt>
                <c:pt idx="49">
                  <c:v>583.37971500268895</c:v>
                </c:pt>
                <c:pt idx="50">
                  <c:v>595.54729539233483</c:v>
                </c:pt>
                <c:pt idx="51">
                  <c:v>607.93721310241312</c:v>
                </c:pt>
                <c:pt idx="52">
                  <c:v>620.55110352682937</c:v>
                </c:pt>
                <c:pt idx="53">
                  <c:v>633.38871244370546</c:v>
                </c:pt>
                <c:pt idx="54">
                  <c:v>646.45858910540528</c:v>
                </c:pt>
                <c:pt idx="55">
                  <c:v>659.77185730547581</c:v>
                </c:pt>
                <c:pt idx="56">
                  <c:v>673.33023954493046</c:v>
                </c:pt>
                <c:pt idx="57">
                  <c:v>687.13503563906011</c:v>
                </c:pt>
                <c:pt idx="58">
                  <c:v>701.19004739384604</c:v>
                </c:pt>
                <c:pt idx="59">
                  <c:v>715.49913256758566</c:v>
                </c:pt>
                <c:pt idx="60">
                  <c:v>730.068288543290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73</c:v>
                </c:pt>
                <c:pt idx="1">
                  <c:v>287</c:v>
                </c:pt>
                <c:pt idx="2">
                  <c:v>289</c:v>
                </c:pt>
                <c:pt idx="3">
                  <c:v>282</c:v>
                </c:pt>
                <c:pt idx="4">
                  <c:v>285</c:v>
                </c:pt>
                <c:pt idx="5">
                  <c:v>278</c:v>
                </c:pt>
                <c:pt idx="6">
                  <c:v>275</c:v>
                </c:pt>
                <c:pt idx="7">
                  <c:v>285</c:v>
                </c:pt>
                <c:pt idx="8">
                  <c:v>267</c:v>
                </c:pt>
                <c:pt idx="9">
                  <c:v>280</c:v>
                </c:pt>
                <c:pt idx="10">
                  <c:v>283</c:v>
                </c:pt>
                <c:pt idx="11">
                  <c:v>304</c:v>
                </c:pt>
                <c:pt idx="12">
                  <c:v>294</c:v>
                </c:pt>
                <c:pt idx="13">
                  <c:v>305</c:v>
                </c:pt>
                <c:pt idx="14">
                  <c:v>299</c:v>
                </c:pt>
                <c:pt idx="15">
                  <c:v>318</c:v>
                </c:pt>
                <c:pt idx="16">
                  <c:v>313</c:v>
                </c:pt>
                <c:pt idx="17">
                  <c:v>308</c:v>
                </c:pt>
                <c:pt idx="18">
                  <c:v>305</c:v>
                </c:pt>
                <c:pt idx="19">
                  <c:v>304</c:v>
                </c:pt>
                <c:pt idx="20">
                  <c:v>303</c:v>
                </c:pt>
                <c:pt idx="21">
                  <c:v>310</c:v>
                </c:pt>
                <c:pt idx="22">
                  <c:v>317</c:v>
                </c:pt>
                <c:pt idx="23">
                  <c:v>299</c:v>
                </c:pt>
                <c:pt idx="24">
                  <c:v>309</c:v>
                </c:pt>
                <c:pt idx="25">
                  <c:v>302</c:v>
                </c:pt>
                <c:pt idx="26">
                  <c:v>281</c:v>
                </c:pt>
                <c:pt idx="27">
                  <c:v>296</c:v>
                </c:pt>
                <c:pt idx="28">
                  <c:v>271</c:v>
                </c:pt>
                <c:pt idx="29">
                  <c:v>265</c:v>
                </c:pt>
                <c:pt idx="30">
                  <c:v>248</c:v>
                </c:pt>
                <c:pt idx="31">
                  <c:v>254</c:v>
                </c:pt>
                <c:pt idx="32">
                  <c:v>222</c:v>
                </c:pt>
                <c:pt idx="33">
                  <c:v>215</c:v>
                </c:pt>
                <c:pt idx="34">
                  <c:v>217</c:v>
                </c:pt>
                <c:pt idx="35">
                  <c:v>202</c:v>
                </c:pt>
                <c:pt idx="36">
                  <c:v>219</c:v>
                </c:pt>
                <c:pt idx="37">
                  <c:v>201</c:v>
                </c:pt>
                <c:pt idx="38">
                  <c:v>199</c:v>
                </c:pt>
                <c:pt idx="39">
                  <c:v>180</c:v>
                </c:pt>
                <c:pt idx="40">
                  <c:v>184</c:v>
                </c:pt>
                <c:pt idx="41">
                  <c:v>174</c:v>
                </c:pt>
                <c:pt idx="42">
                  <c:v>169</c:v>
                </c:pt>
                <c:pt idx="43">
                  <c:v>176</c:v>
                </c:pt>
                <c:pt idx="44">
                  <c:v>157</c:v>
                </c:pt>
                <c:pt idx="45">
                  <c:v>138</c:v>
                </c:pt>
                <c:pt idx="46">
                  <c:v>134</c:v>
                </c:pt>
                <c:pt idx="47">
                  <c:v>119</c:v>
                </c:pt>
                <c:pt idx="48">
                  <c:v>132</c:v>
                </c:pt>
                <c:pt idx="49">
                  <c:v>137</c:v>
                </c:pt>
                <c:pt idx="50">
                  <c:v>125</c:v>
                </c:pt>
                <c:pt idx="51">
                  <c:v>124</c:v>
                </c:pt>
                <c:pt idx="52">
                  <c:v>114</c:v>
                </c:pt>
                <c:pt idx="53">
                  <c:v>10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47.6561171605249</c:v>
                </c:pt>
                <c:pt idx="32">
                  <c:v>242.10896722453555</c:v>
                </c:pt>
                <c:pt idx="33">
                  <c:v>236.62687113675142</c:v>
                </c:pt>
                <c:pt idx="34">
                  <c:v>231.381052866733</c:v>
                </c:pt>
                <c:pt idx="35">
                  <c:v>226.31634887070319</c:v>
                </c:pt>
                <c:pt idx="36">
                  <c:v>221.33216780952614</c:v>
                </c:pt>
                <c:pt idx="37">
                  <c:v>216.40316687375253</c:v>
                </c:pt>
                <c:pt idx="38">
                  <c:v>211.56136159075487</c:v>
                </c:pt>
                <c:pt idx="39">
                  <c:v>206.6750094783672</c:v>
                </c:pt>
                <c:pt idx="40">
                  <c:v>201.69240381248807</c:v>
                </c:pt>
                <c:pt idx="41">
                  <c:v>196.69229288482671</c:v>
                </c:pt>
                <c:pt idx="42">
                  <c:v>191.59856120099181</c:v>
                </c:pt>
                <c:pt idx="43">
                  <c:v>186.37807838156689</c:v>
                </c:pt>
                <c:pt idx="44">
                  <c:v>181.04242470688951</c:v>
                </c:pt>
                <c:pt idx="45">
                  <c:v>175.62962859452048</c:v>
                </c:pt>
                <c:pt idx="46">
                  <c:v>170.19407454605289</c:v>
                </c:pt>
                <c:pt idx="47">
                  <c:v>164.75110366748407</c:v>
                </c:pt>
                <c:pt idx="48">
                  <c:v>159.29350672631455</c:v>
                </c:pt>
                <c:pt idx="49">
                  <c:v>153.82530663707234</c:v>
                </c:pt>
                <c:pt idx="50">
                  <c:v>148.38741821410753</c:v>
                </c:pt>
                <c:pt idx="51">
                  <c:v>143.00292222527938</c:v>
                </c:pt>
                <c:pt idx="52">
                  <c:v>137.71891598926931</c:v>
                </c:pt>
                <c:pt idx="53">
                  <c:v>132.50037855264719</c:v>
                </c:pt>
                <c:pt idx="54">
                  <c:v>127.36908791014264</c:v>
                </c:pt>
                <c:pt idx="55">
                  <c:v>122.34333470485893</c:v>
                </c:pt>
                <c:pt idx="56">
                  <c:v>117.44173932210155</c:v>
                </c:pt>
                <c:pt idx="57">
                  <c:v>112.6827518691625</c:v>
                </c:pt>
                <c:pt idx="58">
                  <c:v>108.06687727795187</c:v>
                </c:pt>
                <c:pt idx="59">
                  <c:v>103.60503833740339</c:v>
                </c:pt>
                <c:pt idx="60">
                  <c:v>99.2910527708855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47.86598052234382</c:v>
                </c:pt>
                <c:pt idx="32">
                  <c:v>242.7153041581781</c:v>
                </c:pt>
                <c:pt idx="33">
                  <c:v>237.77825184349214</c:v>
                </c:pt>
                <c:pt idx="34">
                  <c:v>233.19918658510869</c:v>
                </c:pt>
                <c:pt idx="35">
                  <c:v>228.9395159425012</c:v>
                </c:pt>
                <c:pt idx="36">
                  <c:v>224.91645207263861</c:v>
                </c:pt>
                <c:pt idx="37">
                  <c:v>221.11811947844163</c:v>
                </c:pt>
                <c:pt idx="38">
                  <c:v>217.57992830875497</c:v>
                </c:pt>
                <c:pt idx="39">
                  <c:v>214.13781973135059</c:v>
                </c:pt>
                <c:pt idx="40">
                  <c:v>210.71226510634301</c:v>
                </c:pt>
                <c:pt idx="41">
                  <c:v>207.3689317593919</c:v>
                </c:pt>
                <c:pt idx="42">
                  <c:v>204.01823126751611</c:v>
                </c:pt>
                <c:pt idx="43">
                  <c:v>200.60878278399062</c:v>
                </c:pt>
                <c:pt idx="44">
                  <c:v>197.13170284365208</c:v>
                </c:pt>
                <c:pt idx="45">
                  <c:v>193.60297938221782</c:v>
                </c:pt>
                <c:pt idx="46">
                  <c:v>190.05098408771295</c:v>
                </c:pt>
                <c:pt idx="47">
                  <c:v>186.47378906905845</c:v>
                </c:pt>
                <c:pt idx="48">
                  <c:v>182.85074473233942</c:v>
                </c:pt>
                <c:pt idx="49">
                  <c:v>179.1751162096281</c:v>
                </c:pt>
                <c:pt idx="50">
                  <c:v>175.47664582330964</c:v>
                </c:pt>
                <c:pt idx="51">
                  <c:v>171.76510212028558</c:v>
                </c:pt>
                <c:pt idx="52">
                  <c:v>168.07669012802398</c:v>
                </c:pt>
                <c:pt idx="53">
                  <c:v>164.36866504997627</c:v>
                </c:pt>
                <c:pt idx="54">
                  <c:v>160.6594241375916</c:v>
                </c:pt>
                <c:pt idx="55">
                  <c:v>156.96506694830407</c:v>
                </c:pt>
                <c:pt idx="56">
                  <c:v>153.30090408863168</c:v>
                </c:pt>
                <c:pt idx="57">
                  <c:v>149.68374287215443</c:v>
                </c:pt>
                <c:pt idx="58">
                  <c:v>146.11388720452908</c:v>
                </c:pt>
                <c:pt idx="59">
                  <c:v>142.60246471912913</c:v>
                </c:pt>
                <c:pt idx="60">
                  <c:v>139.14510819900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48.07584388416274</c:v>
                </c:pt>
                <c:pt idx="32">
                  <c:v>243.32230103949939</c:v>
                </c:pt>
                <c:pt idx="33">
                  <c:v>238.93181321069591</c:v>
                </c:pt>
                <c:pt idx="34">
                  <c:v>235.0206923065615</c:v>
                </c:pt>
                <c:pt idx="35">
                  <c:v>231.57785399459416</c:v>
                </c:pt>
                <c:pt idx="36">
                  <c:v>228.54685238383104</c:v>
                </c:pt>
                <c:pt idx="37">
                  <c:v>225.93756982666662</c:v>
                </c:pt>
                <c:pt idx="38">
                  <c:v>223.79448640221341</c:v>
                </c:pt>
                <c:pt idx="39">
                  <c:v>221.92182975168004</c:v>
                </c:pt>
                <c:pt idx="40">
                  <c:v>220.21337365881385</c:v>
                </c:pt>
                <c:pt idx="41">
                  <c:v>218.7290796902397</c:v>
                </c:pt>
                <c:pt idx="42">
                  <c:v>217.37568533113091</c:v>
                </c:pt>
                <c:pt idx="43">
                  <c:v>216.09161739823122</c:v>
                </c:pt>
                <c:pt idx="44">
                  <c:v>214.84711852994445</c:v>
                </c:pt>
                <c:pt idx="45">
                  <c:v>213.63661752458114</c:v>
                </c:pt>
                <c:pt idx="46">
                  <c:v>212.46403809358497</c:v>
                </c:pt>
                <c:pt idx="47">
                  <c:v>211.31150837404687</c:v>
                </c:pt>
                <c:pt idx="48">
                  <c:v>210.14786267668444</c:v>
                </c:pt>
                <c:pt idx="49">
                  <c:v>208.95671579296524</c:v>
                </c:pt>
                <c:pt idx="50">
                  <c:v>207.75234460065883</c:v>
                </c:pt>
                <c:pt idx="51">
                  <c:v>206.52924415472413</c:v>
                </c:pt>
                <c:pt idx="52">
                  <c:v>205.31068732379072</c:v>
                </c:pt>
                <c:pt idx="53">
                  <c:v>204.04469508035896</c:v>
                </c:pt>
                <c:pt idx="54">
                  <c:v>202.74358616472165</c:v>
                </c:pt>
                <c:pt idx="55">
                  <c:v>201.41765925565724</c:v>
                </c:pt>
                <c:pt idx="56">
                  <c:v>200.07612170382998</c:v>
                </c:pt>
                <c:pt idx="57">
                  <c:v>198.72942656076015</c:v>
                </c:pt>
                <c:pt idx="58">
                  <c:v>197.37376755329106</c:v>
                </c:pt>
                <c:pt idx="59">
                  <c:v>196.01696353543005</c:v>
                </c:pt>
                <c:pt idx="60">
                  <c:v>194.652397713920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48.39129887456977</c:v>
                </c:pt>
                <c:pt idx="32">
                  <c:v>244.23332715274756</c:v>
                </c:pt>
                <c:pt idx="33">
                  <c:v>240.66139550877853</c:v>
                </c:pt>
                <c:pt idx="34">
                  <c:v>237.75085422869546</c:v>
                </c:pt>
                <c:pt idx="35">
                  <c:v>235.55122693528136</c:v>
                </c:pt>
                <c:pt idx="36">
                  <c:v>234.06469909942956</c:v>
                </c:pt>
                <c:pt idx="37">
                  <c:v>233.34660276572561</c:v>
                </c:pt>
                <c:pt idx="38">
                  <c:v>233.46692261033317</c:v>
                </c:pt>
                <c:pt idx="39">
                  <c:v>234.17921996985211</c:v>
                </c:pt>
                <c:pt idx="40">
                  <c:v>235.34989199525924</c:v>
                </c:pt>
                <c:pt idx="41">
                  <c:v>237.04841208274675</c:v>
                </c:pt>
                <c:pt idx="42">
                  <c:v>239.20190828004843</c:v>
                </c:pt>
                <c:pt idx="43">
                  <c:v>241.74426305535303</c:v>
                </c:pt>
                <c:pt idx="44">
                  <c:v>244.62341495255049</c:v>
                </c:pt>
                <c:pt idx="45">
                  <c:v>247.80715414724312</c:v>
                </c:pt>
                <c:pt idx="46">
                  <c:v>251.26995524427468</c:v>
                </c:pt>
                <c:pt idx="47">
                  <c:v>254.98457247055916</c:v>
                </c:pt>
                <c:pt idx="48">
                  <c:v>258.91840577031167</c:v>
                </c:pt>
                <c:pt idx="49">
                  <c:v>263.04767730246124</c:v>
                </c:pt>
                <c:pt idx="50">
                  <c:v>267.36755015913548</c:v>
                </c:pt>
                <c:pt idx="51">
                  <c:v>271.85213979356132</c:v>
                </c:pt>
                <c:pt idx="52">
                  <c:v>276.50754310830621</c:v>
                </c:pt>
                <c:pt idx="53">
                  <c:v>281.2746886800827</c:v>
                </c:pt>
                <c:pt idx="54">
                  <c:v>286.16351776680034</c:v>
                </c:pt>
                <c:pt idx="55">
                  <c:v>291.17938360979525</c:v>
                </c:pt>
                <c:pt idx="56">
                  <c:v>296.32104225006663</c:v>
                </c:pt>
                <c:pt idx="57">
                  <c:v>301.58842668940395</c:v>
                </c:pt>
                <c:pt idx="58">
                  <c:v>306.97089307306669</c:v>
                </c:pt>
                <c:pt idx="59">
                  <c:v>312.47575726759555</c:v>
                </c:pt>
                <c:pt idx="60">
                  <c:v>318.09569154789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4</c:v>
                </c:pt>
                <c:pt idx="1">
                  <c:v>134</c:v>
                </c:pt>
                <c:pt idx="2">
                  <c:v>134</c:v>
                </c:pt>
                <c:pt idx="3">
                  <c:v>134</c:v>
                </c:pt>
                <c:pt idx="4">
                  <c:v>134</c:v>
                </c:pt>
                <c:pt idx="5">
                  <c:v>134</c:v>
                </c:pt>
                <c:pt idx="6">
                  <c:v>134</c:v>
                </c:pt>
                <c:pt idx="7">
                  <c:v>134</c:v>
                </c:pt>
                <c:pt idx="8">
                  <c:v>134</c:v>
                </c:pt>
                <c:pt idx="9">
                  <c:v>134</c:v>
                </c:pt>
                <c:pt idx="10">
                  <c:v>134</c:v>
                </c:pt>
                <c:pt idx="11">
                  <c:v>134</c:v>
                </c:pt>
                <c:pt idx="12">
                  <c:v>134</c:v>
                </c:pt>
                <c:pt idx="13">
                  <c:v>134</c:v>
                </c:pt>
                <c:pt idx="14">
                  <c:v>134</c:v>
                </c:pt>
                <c:pt idx="15">
                  <c:v>134</c:v>
                </c:pt>
                <c:pt idx="16">
                  <c:v>134</c:v>
                </c:pt>
                <c:pt idx="17">
                  <c:v>134</c:v>
                </c:pt>
                <c:pt idx="18">
                  <c:v>134</c:v>
                </c:pt>
                <c:pt idx="19">
                  <c:v>134</c:v>
                </c:pt>
                <c:pt idx="20">
                  <c:v>134</c:v>
                </c:pt>
                <c:pt idx="21">
                  <c:v>134</c:v>
                </c:pt>
                <c:pt idx="22">
                  <c:v>134</c:v>
                </c:pt>
                <c:pt idx="23">
                  <c:v>134</c:v>
                </c:pt>
                <c:pt idx="24">
                  <c:v>134</c:v>
                </c:pt>
                <c:pt idx="25">
                  <c:v>134</c:v>
                </c:pt>
                <c:pt idx="26">
                  <c:v>134</c:v>
                </c:pt>
                <c:pt idx="27">
                  <c:v>134</c:v>
                </c:pt>
                <c:pt idx="28">
                  <c:v>134</c:v>
                </c:pt>
                <c:pt idx="29">
                  <c:v>134</c:v>
                </c:pt>
                <c:pt idx="30">
                  <c:v>134</c:v>
                </c:pt>
                <c:pt idx="31">
                  <c:v>134</c:v>
                </c:pt>
                <c:pt idx="32">
                  <c:v>134</c:v>
                </c:pt>
                <c:pt idx="33">
                  <c:v>134</c:v>
                </c:pt>
                <c:pt idx="34">
                  <c:v>134</c:v>
                </c:pt>
                <c:pt idx="35">
                  <c:v>134</c:v>
                </c:pt>
                <c:pt idx="36">
                  <c:v>134</c:v>
                </c:pt>
                <c:pt idx="37">
                  <c:v>134</c:v>
                </c:pt>
                <c:pt idx="38">
                  <c:v>134</c:v>
                </c:pt>
                <c:pt idx="39">
                  <c:v>134</c:v>
                </c:pt>
                <c:pt idx="40">
                  <c:v>134</c:v>
                </c:pt>
                <c:pt idx="41">
                  <c:v>134</c:v>
                </c:pt>
                <c:pt idx="42">
                  <c:v>134</c:v>
                </c:pt>
                <c:pt idx="43">
                  <c:v>134</c:v>
                </c:pt>
                <c:pt idx="44">
                  <c:v>134</c:v>
                </c:pt>
                <c:pt idx="45">
                  <c:v>134</c:v>
                </c:pt>
                <c:pt idx="46">
                  <c:v>134</c:v>
                </c:pt>
                <c:pt idx="47">
                  <c:v>134</c:v>
                </c:pt>
                <c:pt idx="48">
                  <c:v>134</c:v>
                </c:pt>
                <c:pt idx="49">
                  <c:v>134</c:v>
                </c:pt>
                <c:pt idx="50">
                  <c:v>134</c:v>
                </c:pt>
                <c:pt idx="51">
                  <c:v>134</c:v>
                </c:pt>
                <c:pt idx="52">
                  <c:v>134</c:v>
                </c:pt>
                <c:pt idx="53">
                  <c:v>134</c:v>
                </c:pt>
                <c:pt idx="54">
                  <c:v>134</c:v>
                </c:pt>
                <c:pt idx="55">
                  <c:v>134</c:v>
                </c:pt>
                <c:pt idx="56">
                  <c:v>134</c:v>
                </c:pt>
                <c:pt idx="57">
                  <c:v>134</c:v>
                </c:pt>
                <c:pt idx="58">
                  <c:v>134</c:v>
                </c:pt>
                <c:pt idx="59">
                  <c:v>134</c:v>
                </c:pt>
                <c:pt idx="60">
                  <c:v>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4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2</c:v>
                </c:pt>
                <c:pt idx="1">
                  <c:v>46</c:v>
                </c:pt>
                <c:pt idx="2">
                  <c:v>61</c:v>
                </c:pt>
                <c:pt idx="3">
                  <c:v>82</c:v>
                </c:pt>
                <c:pt idx="4">
                  <c:v>103</c:v>
                </c:pt>
                <c:pt idx="5">
                  <c:v>120</c:v>
                </c:pt>
                <c:pt idx="6">
                  <c:v>133</c:v>
                </c:pt>
                <c:pt idx="7">
                  <c:v>151</c:v>
                </c:pt>
                <c:pt idx="8">
                  <c:v>165</c:v>
                </c:pt>
                <c:pt idx="9">
                  <c:v>188</c:v>
                </c:pt>
                <c:pt idx="10">
                  <c:v>198</c:v>
                </c:pt>
                <c:pt idx="11">
                  <c:v>214</c:v>
                </c:pt>
                <c:pt idx="12">
                  <c:v>227</c:v>
                </c:pt>
                <c:pt idx="13">
                  <c:v>238</c:v>
                </c:pt>
                <c:pt idx="14">
                  <c:v>252</c:v>
                </c:pt>
                <c:pt idx="15">
                  <c:v>275</c:v>
                </c:pt>
                <c:pt idx="16">
                  <c:v>289</c:v>
                </c:pt>
                <c:pt idx="17">
                  <c:v>302</c:v>
                </c:pt>
                <c:pt idx="18">
                  <c:v>310</c:v>
                </c:pt>
                <c:pt idx="19">
                  <c:v>316</c:v>
                </c:pt>
                <c:pt idx="20">
                  <c:v>325</c:v>
                </c:pt>
                <c:pt idx="21">
                  <c:v>340</c:v>
                </c:pt>
                <c:pt idx="22">
                  <c:v>350</c:v>
                </c:pt>
                <c:pt idx="23">
                  <c:v>362</c:v>
                </c:pt>
                <c:pt idx="24">
                  <c:v>372</c:v>
                </c:pt>
                <c:pt idx="25">
                  <c:v>379</c:v>
                </c:pt>
                <c:pt idx="26">
                  <c:v>387</c:v>
                </c:pt>
                <c:pt idx="27">
                  <c:v>391</c:v>
                </c:pt>
                <c:pt idx="28">
                  <c:v>401</c:v>
                </c:pt>
                <c:pt idx="29">
                  <c:v>412</c:v>
                </c:pt>
                <c:pt idx="30">
                  <c:v>421</c:v>
                </c:pt>
                <c:pt idx="31">
                  <c:v>428</c:v>
                </c:pt>
                <c:pt idx="32">
                  <c:v>438</c:v>
                </c:pt>
                <c:pt idx="33">
                  <c:v>444</c:v>
                </c:pt>
                <c:pt idx="34">
                  <c:v>453</c:v>
                </c:pt>
                <c:pt idx="35">
                  <c:v>456</c:v>
                </c:pt>
                <c:pt idx="36">
                  <c:v>463</c:v>
                </c:pt>
                <c:pt idx="37">
                  <c:v>467</c:v>
                </c:pt>
                <c:pt idx="38">
                  <c:v>470</c:v>
                </c:pt>
                <c:pt idx="39">
                  <c:v>479</c:v>
                </c:pt>
                <c:pt idx="40">
                  <c:v>481</c:v>
                </c:pt>
                <c:pt idx="41">
                  <c:v>482</c:v>
                </c:pt>
                <c:pt idx="42">
                  <c:v>486</c:v>
                </c:pt>
                <c:pt idx="43">
                  <c:v>490</c:v>
                </c:pt>
                <c:pt idx="44">
                  <c:v>494</c:v>
                </c:pt>
                <c:pt idx="45">
                  <c:v>498</c:v>
                </c:pt>
                <c:pt idx="46">
                  <c:v>501</c:v>
                </c:pt>
                <c:pt idx="47">
                  <c:v>505</c:v>
                </c:pt>
                <c:pt idx="48">
                  <c:v>508</c:v>
                </c:pt>
                <c:pt idx="49">
                  <c:v>514</c:v>
                </c:pt>
                <c:pt idx="50">
                  <c:v>517</c:v>
                </c:pt>
                <c:pt idx="51">
                  <c:v>518</c:v>
                </c:pt>
                <c:pt idx="52">
                  <c:v>523</c:v>
                </c:pt>
                <c:pt idx="53">
                  <c:v>52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28.57400258628036</c:v>
                </c:pt>
                <c:pt idx="32">
                  <c:v>435.94731270183246</c:v>
                </c:pt>
                <c:pt idx="33">
                  <c:v>443.14511911980208</c:v>
                </c:pt>
                <c:pt idx="34">
                  <c:v>450.24821462519793</c:v>
                </c:pt>
                <c:pt idx="35">
                  <c:v>457.24431341223277</c:v>
                </c:pt>
                <c:pt idx="36">
                  <c:v>464.07973607316359</c:v>
                </c:pt>
                <c:pt idx="37">
                  <c:v>470.7302511515029</c:v>
                </c:pt>
                <c:pt idx="38">
                  <c:v>477.210974743804</c:v>
                </c:pt>
                <c:pt idx="39">
                  <c:v>483.48623459492347</c:v>
                </c:pt>
                <c:pt idx="40">
                  <c:v>489.54858633435424</c:v>
                </c:pt>
                <c:pt idx="41">
                  <c:v>495.41074071217236</c:v>
                </c:pt>
                <c:pt idx="42">
                  <c:v>501.05734241088533</c:v>
                </c:pt>
                <c:pt idx="43">
                  <c:v>506.46658464287219</c:v>
                </c:pt>
                <c:pt idx="44">
                  <c:v>511.63232319946349</c:v>
                </c:pt>
                <c:pt idx="45">
                  <c:v>516.55792854448123</c:v>
                </c:pt>
                <c:pt idx="46">
                  <c:v>521.25771741628955</c:v>
                </c:pt>
                <c:pt idx="47">
                  <c:v>525.74875419512057</c:v>
                </c:pt>
                <c:pt idx="48">
                  <c:v>530.0399642922755</c:v>
                </c:pt>
                <c:pt idx="49">
                  <c:v>534.12777975572465</c:v>
                </c:pt>
                <c:pt idx="50">
                  <c:v>538.01867865578595</c:v>
                </c:pt>
                <c:pt idx="51">
                  <c:v>541.72637368480127</c:v>
                </c:pt>
                <c:pt idx="52">
                  <c:v>545.26047413564288</c:v>
                </c:pt>
                <c:pt idx="53">
                  <c:v>548.62446202262083</c:v>
                </c:pt>
                <c:pt idx="54">
                  <c:v>551.8269483209225</c:v>
                </c:pt>
                <c:pt idx="55">
                  <c:v>554.88005525093251</c:v>
                </c:pt>
                <c:pt idx="56">
                  <c:v>557.79050101546079</c:v>
                </c:pt>
                <c:pt idx="57">
                  <c:v>560.56460201083053</c:v>
                </c:pt>
                <c:pt idx="58">
                  <c:v>563.20909927668447</c:v>
                </c:pt>
                <c:pt idx="59">
                  <c:v>565.72874201430534</c:v>
                </c:pt>
                <c:pt idx="60">
                  <c:v>568.12991319540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428.65409561179655</c:v>
                </c:pt>
                <c:pt idx="32">
                  <c:v>436.18485967916581</c:v>
                </c:pt>
                <c:pt idx="33">
                  <c:v>443.60867026787349</c:v>
                </c:pt>
                <c:pt idx="34">
                  <c:v>451.00119098714993</c:v>
                </c:pt>
                <c:pt idx="35">
                  <c:v>458.3605066849006</c:v>
                </c:pt>
                <c:pt idx="36">
                  <c:v>465.64368159700723</c:v>
                </c:pt>
                <c:pt idx="37">
                  <c:v>472.83681200602803</c:v>
                </c:pt>
                <c:pt idx="38">
                  <c:v>479.96228148777885</c:v>
                </c:pt>
                <c:pt idx="39">
                  <c:v>486.97753805585484</c:v>
                </c:pt>
                <c:pt idx="40">
                  <c:v>493.86952555012965</c:v>
                </c:pt>
                <c:pt idx="41">
                  <c:v>500.65006666154488</c:v>
                </c:pt>
                <c:pt idx="42">
                  <c:v>507.3025897572216</c:v>
                </c:pt>
                <c:pt idx="43">
                  <c:v>513.80177534292193</c:v>
                </c:pt>
                <c:pt idx="44">
                  <c:v>520.13654993854766</c:v>
                </c:pt>
                <c:pt idx="45">
                  <c:v>526.30416672693059</c:v>
                </c:pt>
                <c:pt idx="46">
                  <c:v>532.31087145582137</c:v>
                </c:pt>
                <c:pt idx="47">
                  <c:v>538.1679979498042</c:v>
                </c:pt>
                <c:pt idx="48">
                  <c:v>543.87955546039268</c:v>
                </c:pt>
                <c:pt idx="49">
                  <c:v>549.43750231461308</c:v>
                </c:pt>
                <c:pt idx="50">
                  <c:v>554.84348379610003</c:v>
                </c:pt>
                <c:pt idx="51">
                  <c:v>560.10525114448478</c:v>
                </c:pt>
                <c:pt idx="52">
                  <c:v>565.2269483149671</c:v>
                </c:pt>
                <c:pt idx="53">
                  <c:v>570.20716161937617</c:v>
                </c:pt>
                <c:pt idx="54">
                  <c:v>575.05073909871942</c:v>
                </c:pt>
                <c:pt idx="55">
                  <c:v>579.76628193605143</c:v>
                </c:pt>
                <c:pt idx="56">
                  <c:v>584.35637299033806</c:v>
                </c:pt>
                <c:pt idx="57">
                  <c:v>588.8236965393794</c:v>
                </c:pt>
                <c:pt idx="58">
                  <c:v>593.17176717217967</c:v>
                </c:pt>
                <c:pt idx="59">
                  <c:v>597.40212782595552</c:v>
                </c:pt>
                <c:pt idx="60">
                  <c:v>601.51844018539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28.73418863731274</c:v>
                </c:pt>
                <c:pt idx="32">
                  <c:v>436.42265852135921</c:v>
                </c:pt>
                <c:pt idx="33">
                  <c:v>444.07307296669615</c:v>
                </c:pt>
                <c:pt idx="34">
                  <c:v>451.75553816352016</c:v>
                </c:pt>
                <c:pt idx="35">
                  <c:v>459.48267676548551</c:v>
                </c:pt>
                <c:pt idx="36">
                  <c:v>467.22586708295444</c:v>
                </c:pt>
                <c:pt idx="37">
                  <c:v>474.98526683296836</c:v>
                </c:pt>
                <c:pt idx="38">
                  <c:v>482.79354700941866</c:v>
                </c:pt>
                <c:pt idx="39">
                  <c:v>490.60255303101951</c:v>
                </c:pt>
                <c:pt idx="40">
                  <c:v>498.39510196060644</c:v>
                </c:pt>
                <c:pt idx="41">
                  <c:v>506.1860565980212</c:v>
                </c:pt>
                <c:pt idx="42">
                  <c:v>513.96272400388864</c:v>
                </c:pt>
                <c:pt idx="43">
                  <c:v>521.70099455595937</c:v>
                </c:pt>
                <c:pt idx="44">
                  <c:v>529.38665909613906</c:v>
                </c:pt>
                <c:pt idx="45">
                  <c:v>537.01300799258229</c:v>
                </c:pt>
                <c:pt idx="46">
                  <c:v>544.58081935194582</c:v>
                </c:pt>
                <c:pt idx="47">
                  <c:v>552.09827906677697</c:v>
                </c:pt>
                <c:pt idx="48">
                  <c:v>559.56774696152297</c:v>
                </c:pt>
                <c:pt idx="49">
                  <c:v>566.97940867427576</c:v>
                </c:pt>
                <c:pt idx="50">
                  <c:v>574.33078143654893</c:v>
                </c:pt>
                <c:pt idx="51">
                  <c:v>581.62514256655356</c:v>
                </c:pt>
                <c:pt idx="52">
                  <c:v>588.86261084557248</c:v>
                </c:pt>
                <c:pt idx="53">
                  <c:v>596.03845455755834</c:v>
                </c:pt>
                <c:pt idx="54">
                  <c:v>603.15485608576216</c:v>
                </c:pt>
                <c:pt idx="55">
                  <c:v>610.21759273589998</c:v>
                </c:pt>
                <c:pt idx="56">
                  <c:v>617.22602804326118</c:v>
                </c:pt>
                <c:pt idx="57">
                  <c:v>624.17932678255113</c:v>
                </c:pt>
                <c:pt idx="58">
                  <c:v>631.07805756180267</c:v>
                </c:pt>
                <c:pt idx="59">
                  <c:v>637.92084351044196</c:v>
                </c:pt>
                <c:pt idx="60">
                  <c:v>644.70857531385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28.85458004044716</c:v>
                </c:pt>
                <c:pt idx="32">
                  <c:v>436.77957867325017</c:v>
                </c:pt>
                <c:pt idx="33">
                  <c:v>444.76942268219045</c:v>
                </c:pt>
                <c:pt idx="34">
                  <c:v>452.8862745042469</c:v>
                </c:pt>
                <c:pt idx="35">
                  <c:v>461.17194132054465</c:v>
                </c:pt>
                <c:pt idx="36">
                  <c:v>469.62712992293922</c:v>
                </c:pt>
                <c:pt idx="37">
                  <c:v>478.27913194087898</c:v>
                </c:pt>
                <c:pt idx="38">
                  <c:v>487.1821873642823</c:v>
                </c:pt>
                <c:pt idx="39">
                  <c:v>496.28054200335089</c:v>
                </c:pt>
                <c:pt idx="40">
                  <c:v>505.55754995965606</c:v>
                </c:pt>
                <c:pt idx="41">
                  <c:v>515.04182856728471</c:v>
                </c:pt>
                <c:pt idx="42">
                  <c:v>524.73926896337991</c:v>
                </c:pt>
                <c:pt idx="43">
                  <c:v>534.63536358221245</c:v>
                </c:pt>
                <c:pt idx="44">
                  <c:v>544.71876988986253</c:v>
                </c:pt>
                <c:pt idx="45">
                  <c:v>554.98346466224655</c:v>
                </c:pt>
                <c:pt idx="46">
                  <c:v>565.42944233314779</c:v>
                </c:pt>
                <c:pt idx="47">
                  <c:v>576.07069682156566</c:v>
                </c:pt>
                <c:pt idx="48">
                  <c:v>586.91806692453201</c:v>
                </c:pt>
                <c:pt idx="49">
                  <c:v>597.96778162118687</c:v>
                </c:pt>
                <c:pt idx="50">
                  <c:v>609.2190272548014</c:v>
                </c:pt>
                <c:pt idx="51">
                  <c:v>620.67587932028073</c:v>
                </c:pt>
                <c:pt idx="52">
                  <c:v>632.33993300698307</c:v>
                </c:pt>
                <c:pt idx="53">
                  <c:v>644.21086908573602</c:v>
                </c:pt>
                <c:pt idx="54">
                  <c:v>656.29652406787784</c:v>
                </c:pt>
                <c:pt idx="55">
                  <c:v>668.60724238512159</c:v>
                </c:pt>
                <c:pt idx="56">
                  <c:v>681.14465247403336</c:v>
                </c:pt>
                <c:pt idx="57">
                  <c:v>693.90991243196027</c:v>
                </c:pt>
                <c:pt idx="58">
                  <c:v>706.90654405580699</c:v>
                </c:pt>
                <c:pt idx="59">
                  <c:v>720.13812591823626</c:v>
                </c:pt>
                <c:pt idx="60">
                  <c:v>733.610193863825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5</c:v>
                </c:pt>
                <c:pt idx="1">
                  <c:v>26</c:v>
                </c:pt>
                <c:pt idx="2">
                  <c:v>31</c:v>
                </c:pt>
                <c:pt idx="3">
                  <c:v>37</c:v>
                </c:pt>
                <c:pt idx="4">
                  <c:v>42</c:v>
                </c:pt>
                <c:pt idx="5">
                  <c:v>47</c:v>
                </c:pt>
                <c:pt idx="6">
                  <c:v>50</c:v>
                </c:pt>
                <c:pt idx="7">
                  <c:v>57</c:v>
                </c:pt>
                <c:pt idx="8">
                  <c:v>63</c:v>
                </c:pt>
                <c:pt idx="9">
                  <c:v>67</c:v>
                </c:pt>
                <c:pt idx="10">
                  <c:v>72</c:v>
                </c:pt>
                <c:pt idx="11">
                  <c:v>76</c:v>
                </c:pt>
                <c:pt idx="12">
                  <c:v>79</c:v>
                </c:pt>
                <c:pt idx="13">
                  <c:v>81</c:v>
                </c:pt>
                <c:pt idx="14">
                  <c:v>84</c:v>
                </c:pt>
                <c:pt idx="15">
                  <c:v>87</c:v>
                </c:pt>
                <c:pt idx="16">
                  <c:v>94</c:v>
                </c:pt>
                <c:pt idx="17">
                  <c:v>102</c:v>
                </c:pt>
                <c:pt idx="18">
                  <c:v>104</c:v>
                </c:pt>
                <c:pt idx="19">
                  <c:v>106</c:v>
                </c:pt>
                <c:pt idx="20">
                  <c:v>108</c:v>
                </c:pt>
                <c:pt idx="21">
                  <c:v>111</c:v>
                </c:pt>
                <c:pt idx="22">
                  <c:v>115</c:v>
                </c:pt>
                <c:pt idx="23">
                  <c:v>117</c:v>
                </c:pt>
                <c:pt idx="24">
                  <c:v>122</c:v>
                </c:pt>
                <c:pt idx="25">
                  <c:v>125</c:v>
                </c:pt>
                <c:pt idx="26">
                  <c:v>128</c:v>
                </c:pt>
                <c:pt idx="27">
                  <c:v>130</c:v>
                </c:pt>
                <c:pt idx="28">
                  <c:v>130</c:v>
                </c:pt>
                <c:pt idx="29">
                  <c:v>134</c:v>
                </c:pt>
                <c:pt idx="30">
                  <c:v>134</c:v>
                </c:pt>
                <c:pt idx="31">
                  <c:v>135</c:v>
                </c:pt>
                <c:pt idx="32">
                  <c:v>135</c:v>
                </c:pt>
                <c:pt idx="33">
                  <c:v>137</c:v>
                </c:pt>
                <c:pt idx="34">
                  <c:v>137</c:v>
                </c:pt>
                <c:pt idx="35">
                  <c:v>138</c:v>
                </c:pt>
                <c:pt idx="36">
                  <c:v>140</c:v>
                </c:pt>
                <c:pt idx="37">
                  <c:v>141</c:v>
                </c:pt>
                <c:pt idx="38">
                  <c:v>143</c:v>
                </c:pt>
                <c:pt idx="39">
                  <c:v>143</c:v>
                </c:pt>
                <c:pt idx="40">
                  <c:v>144</c:v>
                </c:pt>
                <c:pt idx="41">
                  <c:v>144</c:v>
                </c:pt>
                <c:pt idx="42">
                  <c:v>145</c:v>
                </c:pt>
                <c:pt idx="43">
                  <c:v>145</c:v>
                </c:pt>
                <c:pt idx="44">
                  <c:v>145</c:v>
                </c:pt>
                <c:pt idx="45">
                  <c:v>145</c:v>
                </c:pt>
                <c:pt idx="46">
                  <c:v>146</c:v>
                </c:pt>
                <c:pt idx="47">
                  <c:v>147</c:v>
                </c:pt>
                <c:pt idx="48">
                  <c:v>147</c:v>
                </c:pt>
                <c:pt idx="49">
                  <c:v>147</c:v>
                </c:pt>
                <c:pt idx="50">
                  <c:v>147</c:v>
                </c:pt>
                <c:pt idx="51">
                  <c:v>147</c:v>
                </c:pt>
                <c:pt idx="52">
                  <c:v>147</c:v>
                </c:pt>
                <c:pt idx="53">
                  <c:v>14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35.47827416737218</c:v>
                </c:pt>
                <c:pt idx="32">
                  <c:v>137.89701416256091</c:v>
                </c:pt>
                <c:pt idx="33">
                  <c:v>140.25976215139409</c:v>
                </c:pt>
                <c:pt idx="34">
                  <c:v>142.58956791767449</c:v>
                </c:pt>
                <c:pt idx="35">
                  <c:v>144.88316431807232</c:v>
                </c:pt>
                <c:pt idx="36">
                  <c:v>147.12433825555485</c:v>
                </c:pt>
                <c:pt idx="37">
                  <c:v>149.30395422280694</c:v>
                </c:pt>
                <c:pt idx="38">
                  <c:v>151.42703215406172</c:v>
                </c:pt>
                <c:pt idx="39">
                  <c:v>153.48395578181567</c:v>
                </c:pt>
                <c:pt idx="40">
                  <c:v>155.47153921360911</c:v>
                </c:pt>
                <c:pt idx="41">
                  <c:v>157.39304945869029</c:v>
                </c:pt>
                <c:pt idx="42">
                  <c:v>159.2435207882188</c:v>
                </c:pt>
                <c:pt idx="43">
                  <c:v>161.01599593200922</c:v>
                </c:pt>
                <c:pt idx="44">
                  <c:v>162.70909360494571</c:v>
                </c:pt>
                <c:pt idx="45">
                  <c:v>164.32382432762932</c:v>
                </c:pt>
                <c:pt idx="46">
                  <c:v>165.86471054621217</c:v>
                </c:pt>
                <c:pt idx="47">
                  <c:v>167.33720864630379</c:v>
                </c:pt>
                <c:pt idx="48">
                  <c:v>168.74438309179908</c:v>
                </c:pt>
                <c:pt idx="49">
                  <c:v>170.08484971269769</c:v>
                </c:pt>
                <c:pt idx="50">
                  <c:v>171.3604318579076</c:v>
                </c:pt>
                <c:pt idx="51">
                  <c:v>172.57601967869522</c:v>
                </c:pt>
                <c:pt idx="52">
                  <c:v>173.73511283044226</c:v>
                </c:pt>
                <c:pt idx="53">
                  <c:v>174.83851778874794</c:v>
                </c:pt>
                <c:pt idx="54">
                  <c:v>175.88875558146128</c:v>
                </c:pt>
                <c:pt idx="55">
                  <c:v>176.88997504720072</c:v>
                </c:pt>
                <c:pt idx="56">
                  <c:v>177.84453888236391</c:v>
                </c:pt>
                <c:pt idx="57">
                  <c:v>178.75439739345828</c:v>
                </c:pt>
                <c:pt idx="58">
                  <c:v>179.62177324797793</c:v>
                </c:pt>
                <c:pt idx="59">
                  <c:v>180.44822704436544</c:v>
                </c:pt>
                <c:pt idx="60">
                  <c:v>181.23581478814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35.5047496950383</c:v>
                </c:pt>
                <c:pt idx="32">
                  <c:v>137.97562406652972</c:v>
                </c:pt>
                <c:pt idx="33">
                  <c:v>140.41309440411024</c:v>
                </c:pt>
                <c:pt idx="34">
                  <c:v>142.838607129835</c:v>
                </c:pt>
                <c:pt idx="35">
                  <c:v>145.25232490189796</c:v>
                </c:pt>
                <c:pt idx="36">
                  <c:v>147.64140739960447</c:v>
                </c:pt>
                <c:pt idx="37">
                  <c:v>149.99999479466001</c:v>
                </c:pt>
                <c:pt idx="38">
                  <c:v>152.33548817794767</c:v>
                </c:pt>
                <c:pt idx="39">
                  <c:v>154.63603661408962</c:v>
                </c:pt>
                <c:pt idx="40">
                  <c:v>156.89654915447414</c:v>
                </c:pt>
                <c:pt idx="41">
                  <c:v>159.11998150620619</c:v>
                </c:pt>
                <c:pt idx="42">
                  <c:v>161.30105045175299</c:v>
                </c:pt>
                <c:pt idx="43">
                  <c:v>163.43160984188847</c:v>
                </c:pt>
                <c:pt idx="44">
                  <c:v>165.50863994903546</c:v>
                </c:pt>
                <c:pt idx="45">
                  <c:v>167.53115343580089</c:v>
                </c:pt>
                <c:pt idx="46">
                  <c:v>169.50105727712582</c:v>
                </c:pt>
                <c:pt idx="47">
                  <c:v>171.4219422311547</c:v>
                </c:pt>
                <c:pt idx="48">
                  <c:v>173.29525408403893</c:v>
                </c:pt>
                <c:pt idx="49">
                  <c:v>175.1181568605933</c:v>
                </c:pt>
                <c:pt idx="50">
                  <c:v>176.89089162716112</c:v>
                </c:pt>
                <c:pt idx="51">
                  <c:v>178.61639845546676</c:v>
                </c:pt>
                <c:pt idx="52">
                  <c:v>180.29637374960842</c:v>
                </c:pt>
                <c:pt idx="53">
                  <c:v>181.93002302754937</c:v>
                </c:pt>
                <c:pt idx="54">
                  <c:v>183.5186468096849</c:v>
                </c:pt>
                <c:pt idx="55">
                  <c:v>185.06525531997153</c:v>
                </c:pt>
                <c:pt idx="56">
                  <c:v>186.57084819239182</c:v>
                </c:pt>
                <c:pt idx="57">
                  <c:v>188.03617256529475</c:v>
                </c:pt>
                <c:pt idx="58">
                  <c:v>189.46239787686162</c:v>
                </c:pt>
                <c:pt idx="59">
                  <c:v>190.85004251828067</c:v>
                </c:pt>
                <c:pt idx="60">
                  <c:v>192.20026924411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35.53122522270436</c:v>
                </c:pt>
                <c:pt idx="32">
                  <c:v>138.05431722687484</c:v>
                </c:pt>
                <c:pt idx="33">
                  <c:v>140.56670841703286</c:v>
                </c:pt>
                <c:pt idx="34">
                  <c:v>143.08809990820538</c:v>
                </c:pt>
                <c:pt idx="35">
                  <c:v>145.62346130722307</c:v>
                </c:pt>
                <c:pt idx="36">
                  <c:v>148.16451073377013</c:v>
                </c:pt>
                <c:pt idx="37">
                  <c:v>150.7098928941441</c:v>
                </c:pt>
                <c:pt idx="38">
                  <c:v>153.27038981526107</c:v>
                </c:pt>
                <c:pt idx="39">
                  <c:v>155.83233872736614</c:v>
                </c:pt>
                <c:pt idx="40">
                  <c:v>158.38922504513224</c:v>
                </c:pt>
                <c:pt idx="41">
                  <c:v>160.94497905866237</c:v>
                </c:pt>
                <c:pt idx="42">
                  <c:v>163.49566959354871</c:v>
                </c:pt>
                <c:pt idx="43">
                  <c:v>166.03350798511502</c:v>
                </c:pt>
                <c:pt idx="44">
                  <c:v>168.55441768632227</c:v>
                </c:pt>
                <c:pt idx="45">
                  <c:v>171.05611573694216</c:v>
                </c:pt>
                <c:pt idx="46">
                  <c:v>173.53875187727121</c:v>
                </c:pt>
                <c:pt idx="47">
                  <c:v>176.00489224287128</c:v>
                </c:pt>
                <c:pt idx="48">
                  <c:v>178.45542963433451</c:v>
                </c:pt>
                <c:pt idx="49">
                  <c:v>180.88696267658369</c:v>
                </c:pt>
                <c:pt idx="50">
                  <c:v>183.29837650382737</c:v>
                </c:pt>
                <c:pt idx="51">
                  <c:v>185.69114619697982</c:v>
                </c:pt>
                <c:pt idx="52">
                  <c:v>188.06563932256674</c:v>
                </c:pt>
                <c:pt idx="53">
                  <c:v>190.41997743984365</c:v>
                </c:pt>
                <c:pt idx="54">
                  <c:v>192.75459911524942</c:v>
                </c:pt>
                <c:pt idx="55">
                  <c:v>195.07160211377172</c:v>
                </c:pt>
                <c:pt idx="56">
                  <c:v>197.3709241788381</c:v>
                </c:pt>
                <c:pt idx="57">
                  <c:v>199.65214579351363</c:v>
                </c:pt>
                <c:pt idx="58">
                  <c:v>201.91547223617789</c:v>
                </c:pt>
                <c:pt idx="59">
                  <c:v>204.16047556185327</c:v>
                </c:pt>
                <c:pt idx="60">
                  <c:v>206.38740928825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35.57102177057982</c:v>
                </c:pt>
                <c:pt idx="32">
                  <c:v>138.17243058665815</c:v>
                </c:pt>
                <c:pt idx="33">
                  <c:v>140.79704511486312</c:v>
                </c:pt>
                <c:pt idx="34">
                  <c:v>143.46207937462236</c:v>
                </c:pt>
                <c:pt idx="35">
                  <c:v>146.18215228527029</c:v>
                </c:pt>
                <c:pt idx="36">
                  <c:v>148.95842340866582</c:v>
                </c:pt>
                <c:pt idx="37">
                  <c:v>151.79828691204639</c:v>
                </c:pt>
                <c:pt idx="38">
                  <c:v>154.71962637418787</c:v>
                </c:pt>
                <c:pt idx="39">
                  <c:v>157.70633058592114</c:v>
                </c:pt>
                <c:pt idx="40">
                  <c:v>160.75195067037717</c:v>
                </c:pt>
                <c:pt idx="41">
                  <c:v>163.86489998698752</c:v>
                </c:pt>
                <c:pt idx="42">
                  <c:v>167.04746148148371</c:v>
                </c:pt>
                <c:pt idx="43">
                  <c:v>170.29493167144574</c:v>
                </c:pt>
                <c:pt idx="44">
                  <c:v>173.60412774958894</c:v>
                </c:pt>
                <c:pt idx="45">
                  <c:v>176.9730009468239</c:v>
                </c:pt>
                <c:pt idx="46">
                  <c:v>180.40149604753645</c:v>
                </c:pt>
                <c:pt idx="47">
                  <c:v>183.89409013502194</c:v>
                </c:pt>
                <c:pt idx="48">
                  <c:v>187.45444056110489</c:v>
                </c:pt>
                <c:pt idx="49">
                  <c:v>191.08114921183201</c:v>
                </c:pt>
                <c:pt idx="50">
                  <c:v>194.77364029427213</c:v>
                </c:pt>
                <c:pt idx="51">
                  <c:v>198.53365838782713</c:v>
                </c:pt>
                <c:pt idx="52">
                  <c:v>202.36204079905249</c:v>
                </c:pt>
                <c:pt idx="53">
                  <c:v>206.2583644469164</c:v>
                </c:pt>
                <c:pt idx="54">
                  <c:v>210.22494053402414</c:v>
                </c:pt>
                <c:pt idx="55">
                  <c:v>214.26538472256857</c:v>
                </c:pt>
                <c:pt idx="56">
                  <c:v>218.38036631425081</c:v>
                </c:pt>
                <c:pt idx="57">
                  <c:v>222.57009959051118</c:v>
                </c:pt>
                <c:pt idx="58">
                  <c:v>226.83576419478922</c:v>
                </c:pt>
                <c:pt idx="59">
                  <c:v>231.1785774570821</c:v>
                </c:pt>
                <c:pt idx="60">
                  <c:v>235.60031879335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4</c:v>
                </c:pt>
                <c:pt idx="1">
                  <c:v>40</c:v>
                </c:pt>
                <c:pt idx="2">
                  <c:v>58</c:v>
                </c:pt>
                <c:pt idx="3">
                  <c:v>75</c:v>
                </c:pt>
                <c:pt idx="4">
                  <c:v>90</c:v>
                </c:pt>
                <c:pt idx="5">
                  <c:v>96</c:v>
                </c:pt>
                <c:pt idx="6">
                  <c:v>110</c:v>
                </c:pt>
                <c:pt idx="7">
                  <c:v>124</c:v>
                </c:pt>
                <c:pt idx="8">
                  <c:v>149</c:v>
                </c:pt>
                <c:pt idx="9">
                  <c:v>162</c:v>
                </c:pt>
                <c:pt idx="10">
                  <c:v>176</c:v>
                </c:pt>
                <c:pt idx="11">
                  <c:v>203</c:v>
                </c:pt>
                <c:pt idx="12">
                  <c:v>219</c:v>
                </c:pt>
                <c:pt idx="13">
                  <c:v>225</c:v>
                </c:pt>
                <c:pt idx="14">
                  <c:v>248</c:v>
                </c:pt>
                <c:pt idx="15">
                  <c:v>267</c:v>
                </c:pt>
                <c:pt idx="16">
                  <c:v>288</c:v>
                </c:pt>
                <c:pt idx="17">
                  <c:v>304</c:v>
                </c:pt>
                <c:pt idx="18">
                  <c:v>326</c:v>
                </c:pt>
                <c:pt idx="19">
                  <c:v>345</c:v>
                </c:pt>
                <c:pt idx="20">
                  <c:v>352</c:v>
                </c:pt>
                <c:pt idx="21">
                  <c:v>377</c:v>
                </c:pt>
                <c:pt idx="22">
                  <c:v>390</c:v>
                </c:pt>
                <c:pt idx="23">
                  <c:v>410</c:v>
                </c:pt>
                <c:pt idx="24">
                  <c:v>432</c:v>
                </c:pt>
                <c:pt idx="25">
                  <c:v>443</c:v>
                </c:pt>
                <c:pt idx="26">
                  <c:v>452</c:v>
                </c:pt>
                <c:pt idx="27">
                  <c:v>461</c:v>
                </c:pt>
                <c:pt idx="28">
                  <c:v>476</c:v>
                </c:pt>
                <c:pt idx="29">
                  <c:v>492</c:v>
                </c:pt>
                <c:pt idx="30">
                  <c:v>505</c:v>
                </c:pt>
                <c:pt idx="31">
                  <c:v>512</c:v>
                </c:pt>
                <c:pt idx="32">
                  <c:v>525</c:v>
                </c:pt>
                <c:pt idx="33">
                  <c:v>535</c:v>
                </c:pt>
                <c:pt idx="34">
                  <c:v>542</c:v>
                </c:pt>
                <c:pt idx="35">
                  <c:v>546</c:v>
                </c:pt>
                <c:pt idx="36">
                  <c:v>560</c:v>
                </c:pt>
                <c:pt idx="37">
                  <c:v>578</c:v>
                </c:pt>
                <c:pt idx="38">
                  <c:v>585</c:v>
                </c:pt>
                <c:pt idx="39">
                  <c:v>591</c:v>
                </c:pt>
                <c:pt idx="40">
                  <c:v>605</c:v>
                </c:pt>
                <c:pt idx="41">
                  <c:v>610</c:v>
                </c:pt>
                <c:pt idx="42">
                  <c:v>625</c:v>
                </c:pt>
                <c:pt idx="43">
                  <c:v>631</c:v>
                </c:pt>
                <c:pt idx="44">
                  <c:v>642</c:v>
                </c:pt>
                <c:pt idx="45">
                  <c:v>649</c:v>
                </c:pt>
                <c:pt idx="46">
                  <c:v>661</c:v>
                </c:pt>
                <c:pt idx="47">
                  <c:v>667</c:v>
                </c:pt>
                <c:pt idx="48">
                  <c:v>671</c:v>
                </c:pt>
                <c:pt idx="49">
                  <c:v>680</c:v>
                </c:pt>
                <c:pt idx="50">
                  <c:v>691</c:v>
                </c:pt>
                <c:pt idx="51">
                  <c:v>698</c:v>
                </c:pt>
                <c:pt idx="52">
                  <c:v>702</c:v>
                </c:pt>
                <c:pt idx="53">
                  <c:v>70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15.00444944909214</c:v>
                </c:pt>
                <c:pt idx="32">
                  <c:v>526.6679350059328</c:v>
                </c:pt>
                <c:pt idx="33">
                  <c:v>538.04790662700941</c:v>
                </c:pt>
                <c:pt idx="34">
                  <c:v>549.28504552980473</c:v>
                </c:pt>
                <c:pt idx="35">
                  <c:v>560.35707160318759</c:v>
                </c:pt>
                <c:pt idx="36">
                  <c:v>571.17386629254941</c:v>
                </c:pt>
                <c:pt idx="37">
                  <c:v>581.70152427174378</c:v>
                </c:pt>
                <c:pt idx="38">
                  <c:v>591.96372854538924</c:v>
                </c:pt>
                <c:pt idx="39">
                  <c:v>601.89627288081897</c:v>
                </c:pt>
                <c:pt idx="40">
                  <c:v>611.49015538297203</c:v>
                </c:pt>
                <c:pt idx="41">
                  <c:v>620.76884871930793</c:v>
                </c:pt>
                <c:pt idx="42">
                  <c:v>629.70779667386375</c:v>
                </c:pt>
                <c:pt idx="43">
                  <c:v>638.27177235108911</c:v>
                </c:pt>
                <c:pt idx="44">
                  <c:v>646.44869118421593</c:v>
                </c:pt>
                <c:pt idx="45">
                  <c:v>654.24423950035316</c:v>
                </c:pt>
                <c:pt idx="46">
                  <c:v>661.68171321409466</c:v>
                </c:pt>
                <c:pt idx="47">
                  <c:v>668.78863301606179</c:v>
                </c:pt>
                <c:pt idx="48">
                  <c:v>675.57860826756996</c:v>
                </c:pt>
                <c:pt idx="49">
                  <c:v>682.04679209117842</c:v>
                </c:pt>
                <c:pt idx="50">
                  <c:v>688.20455702287984</c:v>
                </c:pt>
                <c:pt idx="51">
                  <c:v>694.07213322683765</c:v>
                </c:pt>
                <c:pt idx="52">
                  <c:v>699.66342554038397</c:v>
                </c:pt>
                <c:pt idx="53">
                  <c:v>704.98519415452881</c:v>
                </c:pt>
                <c:pt idx="54">
                  <c:v>710.05219299993223</c:v>
                </c:pt>
                <c:pt idx="55">
                  <c:v>714.88295520468216</c:v>
                </c:pt>
                <c:pt idx="56">
                  <c:v>719.48751554584373</c:v>
                </c:pt>
                <c:pt idx="57">
                  <c:v>723.87631956957171</c:v>
                </c:pt>
                <c:pt idx="58">
                  <c:v>728.05998832252646</c:v>
                </c:pt>
                <c:pt idx="59">
                  <c:v>732.04602437793187</c:v>
                </c:pt>
                <c:pt idx="60">
                  <c:v>735.84466585795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515.13039212465401</c:v>
                </c:pt>
                <c:pt idx="32">
                  <c:v>527.04114455947797</c:v>
                </c:pt>
                <c:pt idx="33">
                  <c:v>538.77644358105783</c:v>
                </c:pt>
                <c:pt idx="34">
                  <c:v>550.46856140340549</c:v>
                </c:pt>
                <c:pt idx="35">
                  <c:v>562.11151903160612</c:v>
                </c:pt>
                <c:pt idx="36">
                  <c:v>573.63275800401243</c:v>
                </c:pt>
                <c:pt idx="37">
                  <c:v>585.01512849287622</c:v>
                </c:pt>
                <c:pt idx="38">
                  <c:v>596.29382026999576</c:v>
                </c:pt>
                <c:pt idx="39">
                  <c:v>607.39366175030068</c:v>
                </c:pt>
                <c:pt idx="40">
                  <c:v>618.2970133081468</c:v>
                </c:pt>
                <c:pt idx="41">
                  <c:v>629.02601735626945</c:v>
                </c:pt>
                <c:pt idx="42">
                  <c:v>639.55388966894839</c:v>
                </c:pt>
                <c:pt idx="43">
                  <c:v>649.83998315247709</c:v>
                </c:pt>
                <c:pt idx="44">
                  <c:v>659.86449583546221</c:v>
                </c:pt>
                <c:pt idx="45">
                  <c:v>669.62340439140507</c:v>
                </c:pt>
                <c:pt idx="46">
                  <c:v>679.12711777838058</c:v>
                </c:pt>
                <c:pt idx="47">
                  <c:v>688.3940387524633</c:v>
                </c:pt>
                <c:pt idx="48">
                  <c:v>697.43002234295022</c:v>
                </c:pt>
                <c:pt idx="49">
                  <c:v>706.22308615732254</c:v>
                </c:pt>
                <c:pt idx="50">
                  <c:v>714.77694655032792</c:v>
                </c:pt>
                <c:pt idx="51">
                  <c:v>723.10238298353397</c:v>
                </c:pt>
                <c:pt idx="52">
                  <c:v>731.20469373229639</c:v>
                </c:pt>
                <c:pt idx="53">
                  <c:v>739.08287595925037</c:v>
                </c:pt>
                <c:pt idx="54">
                  <c:v>746.74567940835959</c:v>
                </c:pt>
                <c:pt idx="55">
                  <c:v>754.20600619003608</c:v>
                </c:pt>
                <c:pt idx="56">
                  <c:v>761.46737383675736</c:v>
                </c:pt>
                <c:pt idx="57">
                  <c:v>768.53452600969808</c:v>
                </c:pt>
                <c:pt idx="58">
                  <c:v>775.41296068798749</c:v>
                </c:pt>
                <c:pt idx="59">
                  <c:v>782.10507290042835</c:v>
                </c:pt>
                <c:pt idx="60">
                  <c:v>788.6167981849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15.25633480021588</c:v>
                </c:pt>
                <c:pt idx="32">
                  <c:v>527.41475015917251</c:v>
                </c:pt>
                <c:pt idx="33">
                  <c:v>539.50631854656945</c:v>
                </c:pt>
                <c:pt idx="34">
                  <c:v>551.65423121665424</c:v>
                </c:pt>
                <c:pt idx="35">
                  <c:v>563.875364238065</c:v>
                </c:pt>
                <c:pt idx="36">
                  <c:v>576.12031335830602</c:v>
                </c:pt>
                <c:pt idx="37">
                  <c:v>588.39457528152298</c:v>
                </c:pt>
                <c:pt idx="38">
                  <c:v>600.7495896359726</c:v>
                </c:pt>
                <c:pt idx="39">
                  <c:v>613.10122524864755</c:v>
                </c:pt>
                <c:pt idx="40">
                  <c:v>625.42557517975035</c:v>
                </c:pt>
                <c:pt idx="41">
                  <c:v>637.74967547702533</c:v>
                </c:pt>
                <c:pt idx="42">
                  <c:v>650.05258029631204</c:v>
                </c:pt>
                <c:pt idx="43">
                  <c:v>662.29570332268293</c:v>
                </c:pt>
                <c:pt idx="44">
                  <c:v>674.45438754186921</c:v>
                </c:pt>
                <c:pt idx="45">
                  <c:v>686.51832486129365</c:v>
                </c:pt>
                <c:pt idx="46">
                  <c:v>698.48913960635946</c:v>
                </c:pt>
                <c:pt idx="47">
                  <c:v>710.38022504384298</c:v>
                </c:pt>
                <c:pt idx="48">
                  <c:v>722.19487146050653</c:v>
                </c:pt>
                <c:pt idx="49">
                  <c:v>733.91823224293</c:v>
                </c:pt>
                <c:pt idx="50">
                  <c:v>745.54750036521705</c:v>
                </c:pt>
                <c:pt idx="51">
                  <c:v>757.08636838442362</c:v>
                </c:pt>
                <c:pt idx="52">
                  <c:v>768.5337987465025</c:v>
                </c:pt>
                <c:pt idx="53">
                  <c:v>779.88352325218057</c:v>
                </c:pt>
                <c:pt idx="54">
                  <c:v>791.14002839733371</c:v>
                </c:pt>
                <c:pt idx="55">
                  <c:v>802.3116975532962</c:v>
                </c:pt>
                <c:pt idx="56">
                  <c:v>813.39697747784567</c:v>
                </c:pt>
                <c:pt idx="57">
                  <c:v>824.39508968977555</c:v>
                </c:pt>
                <c:pt idx="58">
                  <c:v>835.30686371038234</c:v>
                </c:pt>
                <c:pt idx="59">
                  <c:v>846.13003306239784</c:v>
                </c:pt>
                <c:pt idx="60">
                  <c:v>856.86615086228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15.44564485970818</c:v>
                </c:pt>
                <c:pt idx="32">
                  <c:v>527.97550645480351</c:v>
                </c:pt>
                <c:pt idx="33">
                  <c:v>540.60073199812575</c:v>
                </c:pt>
                <c:pt idx="34">
                  <c:v>553.4315039653826</c:v>
                </c:pt>
                <c:pt idx="35">
                  <c:v>566.53058201061106</c:v>
                </c:pt>
                <c:pt idx="36">
                  <c:v>579.8956244949386</c:v>
                </c:pt>
                <c:pt idx="37">
                  <c:v>593.57561511226584</c:v>
                </c:pt>
                <c:pt idx="38">
                  <c:v>607.65601526461182</c:v>
                </c:pt>
                <c:pt idx="39">
                  <c:v>622.04050623734872</c:v>
                </c:pt>
                <c:pt idx="40">
                  <c:v>636.70644254948968</c:v>
                </c:pt>
                <c:pt idx="41">
                  <c:v>651.7027259123289</c:v>
                </c:pt>
                <c:pt idx="42">
                  <c:v>667.03736842619548</c:v>
                </c:pt>
                <c:pt idx="43">
                  <c:v>682.6872140020987</c:v>
                </c:pt>
                <c:pt idx="44">
                  <c:v>698.63231408780234</c:v>
                </c:pt>
                <c:pt idx="45">
                  <c:v>714.86341274064534</c:v>
                </c:pt>
                <c:pt idx="46">
                  <c:v>731.38070026095886</c:v>
                </c:pt>
                <c:pt idx="47">
                  <c:v>748.20673615947726</c:v>
                </c:pt>
                <c:pt idx="48">
                  <c:v>765.35828619122174</c:v>
                </c:pt>
                <c:pt idx="49">
                  <c:v>782.82998582979883</c:v>
                </c:pt>
                <c:pt idx="50">
                  <c:v>800.62169989587107</c:v>
                </c:pt>
                <c:pt idx="51">
                  <c:v>818.73835496016181</c:v>
                </c:pt>
                <c:pt idx="52">
                  <c:v>837.18130330346958</c:v>
                </c:pt>
                <c:pt idx="53">
                  <c:v>855.95122721157293</c:v>
                </c:pt>
                <c:pt idx="54">
                  <c:v>875.06149058239737</c:v>
                </c:pt>
                <c:pt idx="55">
                  <c:v>894.52762784685319</c:v>
                </c:pt>
                <c:pt idx="56">
                  <c:v>914.35171108884992</c:v>
                </c:pt>
                <c:pt idx="57">
                  <c:v>934.53618989371842</c:v>
                </c:pt>
                <c:pt idx="58">
                  <c:v>955.08654440192618</c:v>
                </c:pt>
                <c:pt idx="59">
                  <c:v>976.00827347776044</c:v>
                </c:pt>
                <c:pt idx="60">
                  <c:v>997.31027035828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</c:v>
                </c:pt>
                <c:pt idx="1">
                  <c:v>27</c:v>
                </c:pt>
                <c:pt idx="2">
                  <c:v>40</c:v>
                </c:pt>
                <c:pt idx="3">
                  <c:v>54</c:v>
                </c:pt>
                <c:pt idx="4">
                  <c:v>65</c:v>
                </c:pt>
                <c:pt idx="5">
                  <c:v>73</c:v>
                </c:pt>
                <c:pt idx="6">
                  <c:v>82</c:v>
                </c:pt>
                <c:pt idx="7">
                  <c:v>103</c:v>
                </c:pt>
                <c:pt idx="8">
                  <c:v>130</c:v>
                </c:pt>
                <c:pt idx="9">
                  <c:v>144</c:v>
                </c:pt>
                <c:pt idx="10">
                  <c:v>165</c:v>
                </c:pt>
                <c:pt idx="11">
                  <c:v>177</c:v>
                </c:pt>
                <c:pt idx="12">
                  <c:v>183</c:v>
                </c:pt>
                <c:pt idx="13">
                  <c:v>196</c:v>
                </c:pt>
                <c:pt idx="14">
                  <c:v>212</c:v>
                </c:pt>
                <c:pt idx="15">
                  <c:v>227</c:v>
                </c:pt>
                <c:pt idx="16">
                  <c:v>237</c:v>
                </c:pt>
                <c:pt idx="17">
                  <c:v>251</c:v>
                </c:pt>
                <c:pt idx="18">
                  <c:v>261</c:v>
                </c:pt>
                <c:pt idx="19">
                  <c:v>270</c:v>
                </c:pt>
                <c:pt idx="20">
                  <c:v>279</c:v>
                </c:pt>
                <c:pt idx="21">
                  <c:v>289</c:v>
                </c:pt>
                <c:pt idx="22">
                  <c:v>295</c:v>
                </c:pt>
                <c:pt idx="23">
                  <c:v>305</c:v>
                </c:pt>
                <c:pt idx="24">
                  <c:v>319</c:v>
                </c:pt>
                <c:pt idx="25">
                  <c:v>327</c:v>
                </c:pt>
                <c:pt idx="26">
                  <c:v>332</c:v>
                </c:pt>
                <c:pt idx="27">
                  <c:v>340</c:v>
                </c:pt>
                <c:pt idx="28">
                  <c:v>348</c:v>
                </c:pt>
                <c:pt idx="29">
                  <c:v>350</c:v>
                </c:pt>
                <c:pt idx="30">
                  <c:v>358</c:v>
                </c:pt>
                <c:pt idx="31">
                  <c:v>363</c:v>
                </c:pt>
                <c:pt idx="32">
                  <c:v>371</c:v>
                </c:pt>
                <c:pt idx="33">
                  <c:v>377</c:v>
                </c:pt>
                <c:pt idx="34">
                  <c:v>389</c:v>
                </c:pt>
                <c:pt idx="35">
                  <c:v>393</c:v>
                </c:pt>
                <c:pt idx="36">
                  <c:v>399</c:v>
                </c:pt>
                <c:pt idx="37">
                  <c:v>410</c:v>
                </c:pt>
                <c:pt idx="38">
                  <c:v>413</c:v>
                </c:pt>
                <c:pt idx="39">
                  <c:v>421</c:v>
                </c:pt>
                <c:pt idx="40">
                  <c:v>426</c:v>
                </c:pt>
                <c:pt idx="41">
                  <c:v>430</c:v>
                </c:pt>
                <c:pt idx="42">
                  <c:v>432</c:v>
                </c:pt>
                <c:pt idx="43">
                  <c:v>435</c:v>
                </c:pt>
                <c:pt idx="44">
                  <c:v>437</c:v>
                </c:pt>
                <c:pt idx="45">
                  <c:v>441</c:v>
                </c:pt>
                <c:pt idx="46">
                  <c:v>447</c:v>
                </c:pt>
                <c:pt idx="47">
                  <c:v>449</c:v>
                </c:pt>
                <c:pt idx="48">
                  <c:v>450</c:v>
                </c:pt>
                <c:pt idx="49">
                  <c:v>455</c:v>
                </c:pt>
                <c:pt idx="50">
                  <c:v>458</c:v>
                </c:pt>
                <c:pt idx="51">
                  <c:v>464</c:v>
                </c:pt>
                <c:pt idx="52">
                  <c:v>466</c:v>
                </c:pt>
                <c:pt idx="53">
                  <c:v>46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63.55099921636372</c:v>
                </c:pt>
                <c:pt idx="32">
                  <c:v>369.94202494841016</c:v>
                </c:pt>
                <c:pt idx="33">
                  <c:v>376.18443450009431</c:v>
                </c:pt>
                <c:pt idx="34">
                  <c:v>382.34059374358719</c:v>
                </c:pt>
                <c:pt idx="35">
                  <c:v>388.40154697564185</c:v>
                </c:pt>
                <c:pt idx="36">
                  <c:v>394.32386365317802</c:v>
                </c:pt>
                <c:pt idx="37">
                  <c:v>400.08390725298847</c:v>
                </c:pt>
                <c:pt idx="38">
                  <c:v>405.69491600262165</c:v>
                </c:pt>
                <c:pt idx="39">
                  <c:v>411.13059821881245</c:v>
                </c:pt>
                <c:pt idx="40">
                  <c:v>416.38285063106463</c:v>
                </c:pt>
                <c:pt idx="41">
                  <c:v>421.46068763952104</c:v>
                </c:pt>
                <c:pt idx="42">
                  <c:v>426.3509580925043</c:v>
                </c:pt>
                <c:pt idx="43">
                  <c:v>431.03519578218925</c:v>
                </c:pt>
                <c:pt idx="44">
                  <c:v>435.50948252196338</c:v>
                </c:pt>
                <c:pt idx="45">
                  <c:v>439.77652866379958</c:v>
                </c:pt>
                <c:pt idx="46">
                  <c:v>443.84835749114444</c:v>
                </c:pt>
                <c:pt idx="47">
                  <c:v>447.73944623352821</c:v>
                </c:pt>
                <c:pt idx="48">
                  <c:v>451.45783431153166</c:v>
                </c:pt>
                <c:pt idx="49">
                  <c:v>454.9999547949156</c:v>
                </c:pt>
                <c:pt idx="50">
                  <c:v>458.37075319871968</c:v>
                </c:pt>
                <c:pt idx="51">
                  <c:v>461.58298491785791</c:v>
                </c:pt>
                <c:pt idx="52">
                  <c:v>464.64575004386893</c:v>
                </c:pt>
                <c:pt idx="53">
                  <c:v>467.56132162112112</c:v>
                </c:pt>
                <c:pt idx="54">
                  <c:v>470.33648948454214</c:v>
                </c:pt>
                <c:pt idx="55">
                  <c:v>472.98214318730157</c:v>
                </c:pt>
                <c:pt idx="56">
                  <c:v>475.50445844175221</c:v>
                </c:pt>
                <c:pt idx="57">
                  <c:v>477.9086400481583</c:v>
                </c:pt>
                <c:pt idx="58">
                  <c:v>480.20055615268808</c:v>
                </c:pt>
                <c:pt idx="59">
                  <c:v>482.38432918720474</c:v>
                </c:pt>
                <c:pt idx="60">
                  <c:v>484.465407750063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63.62086997218904</c:v>
                </c:pt>
                <c:pt idx="32">
                  <c:v>370.14944563888616</c:v>
                </c:pt>
                <c:pt idx="33">
                  <c:v>376.5890465781967</c:v>
                </c:pt>
                <c:pt idx="34">
                  <c:v>382.99776858351152</c:v>
                </c:pt>
                <c:pt idx="35">
                  <c:v>389.3757067298813</c:v>
                </c:pt>
                <c:pt idx="36">
                  <c:v>395.6884064902469</c:v>
                </c:pt>
                <c:pt idx="37">
                  <c:v>401.92093415037527</c:v>
                </c:pt>
                <c:pt idx="38">
                  <c:v>408.09282087040845</c:v>
                </c:pt>
                <c:pt idx="39">
                  <c:v>414.17186093663423</c:v>
                </c:pt>
                <c:pt idx="40">
                  <c:v>420.1449445124411</c:v>
                </c:pt>
                <c:pt idx="41">
                  <c:v>426.02027190279347</c:v>
                </c:pt>
                <c:pt idx="42">
                  <c:v>431.78381856096638</c:v>
                </c:pt>
                <c:pt idx="43">
                  <c:v>437.41399238654861</c:v>
                </c:pt>
                <c:pt idx="44">
                  <c:v>442.90255501937162</c:v>
                </c:pt>
                <c:pt idx="45">
                  <c:v>448.24693413307568</c:v>
                </c:pt>
                <c:pt idx="46">
                  <c:v>453.45222856328047</c:v>
                </c:pt>
                <c:pt idx="47">
                  <c:v>458.52797998103847</c:v>
                </c:pt>
                <c:pt idx="48">
                  <c:v>463.4779533133123</c:v>
                </c:pt>
                <c:pt idx="49">
                  <c:v>468.29473886447329</c:v>
                </c:pt>
                <c:pt idx="50">
                  <c:v>472.97909999465566</c:v>
                </c:pt>
                <c:pt idx="51">
                  <c:v>477.53863707850229</c:v>
                </c:pt>
                <c:pt idx="52">
                  <c:v>481.97768988721759</c:v>
                </c:pt>
                <c:pt idx="53">
                  <c:v>486.2942991341065</c:v>
                </c:pt>
                <c:pt idx="54">
                  <c:v>490.49202383649828</c:v>
                </c:pt>
                <c:pt idx="55">
                  <c:v>494.57873803956215</c:v>
                </c:pt>
                <c:pt idx="56">
                  <c:v>498.55701859479063</c:v>
                </c:pt>
                <c:pt idx="57">
                  <c:v>502.42889612324689</c:v>
                </c:pt>
                <c:pt idx="58">
                  <c:v>506.19745363785017</c:v>
                </c:pt>
                <c:pt idx="59">
                  <c:v>509.86405569861665</c:v>
                </c:pt>
                <c:pt idx="60">
                  <c:v>513.4317909080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63.6907407280143</c:v>
                </c:pt>
                <c:pt idx="32">
                  <c:v>370.35708604872002</c:v>
                </c:pt>
                <c:pt idx="33">
                  <c:v>376.99440212688324</c:v>
                </c:pt>
                <c:pt idx="34">
                  <c:v>383.65614023548676</c:v>
                </c:pt>
                <c:pt idx="35">
                  <c:v>390.35508075982705</c:v>
                </c:pt>
                <c:pt idx="36">
                  <c:v>397.06887196085881</c:v>
                </c:pt>
                <c:pt idx="37">
                  <c:v>403.79452821696179</c:v>
                </c:pt>
                <c:pt idx="38">
                  <c:v>410.5605114742188</c:v>
                </c:pt>
                <c:pt idx="39">
                  <c:v>417.32981759670457</c:v>
                </c:pt>
                <c:pt idx="40">
                  <c:v>424.08560465650561</c:v>
                </c:pt>
                <c:pt idx="41">
                  <c:v>430.83865769909971</c:v>
                </c:pt>
                <c:pt idx="42">
                  <c:v>437.57849095542127</c:v>
                </c:pt>
                <c:pt idx="43">
                  <c:v>444.28447357994372</c:v>
                </c:pt>
                <c:pt idx="44">
                  <c:v>450.94558671423118</c:v>
                </c:pt>
                <c:pt idx="45">
                  <c:v>457.55583277747746</c:v>
                </c:pt>
                <c:pt idx="46">
                  <c:v>464.1156520802017</c:v>
                </c:pt>
                <c:pt idx="47">
                  <c:v>470.631875541716</c:v>
                </c:pt>
                <c:pt idx="48">
                  <c:v>477.10681197714035</c:v>
                </c:pt>
                <c:pt idx="49">
                  <c:v>483.53155091821861</c:v>
                </c:pt>
                <c:pt idx="50">
                  <c:v>489.90327369925069</c:v>
                </c:pt>
                <c:pt idx="51">
                  <c:v>496.22570864158308</c:v>
                </c:pt>
                <c:pt idx="52">
                  <c:v>502.49968789826988</c:v>
                </c:pt>
                <c:pt idx="53">
                  <c:v>508.72038614456358</c:v>
                </c:pt>
                <c:pt idx="54">
                  <c:v>514.88907957568108</c:v>
                </c:pt>
                <c:pt idx="55">
                  <c:v>521.01122537415631</c:v>
                </c:pt>
                <c:pt idx="56">
                  <c:v>527.08659702759246</c:v>
                </c:pt>
                <c:pt idx="57">
                  <c:v>533.11414763741368</c:v>
                </c:pt>
                <c:pt idx="58">
                  <c:v>539.09441167367754</c:v>
                </c:pt>
                <c:pt idx="59">
                  <c:v>545.0262483393584</c:v>
                </c:pt>
                <c:pt idx="60">
                  <c:v>550.91034386544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63.79576658111012</c:v>
                </c:pt>
                <c:pt idx="32">
                  <c:v>370.66874083566006</c:v>
                </c:pt>
                <c:pt idx="33">
                  <c:v>377.60221302421945</c:v>
                </c:pt>
                <c:pt idx="34">
                  <c:v>384.64301251303789</c:v>
                </c:pt>
                <c:pt idx="35">
                  <c:v>391.82938401810492</c:v>
                </c:pt>
                <c:pt idx="36">
                  <c:v>399.16399883326085</c:v>
                </c:pt>
                <c:pt idx="37">
                  <c:v>406.66705413284103</c:v>
                </c:pt>
                <c:pt idx="38">
                  <c:v>414.38576523233894</c:v>
                </c:pt>
                <c:pt idx="39">
                  <c:v>422.27663964774786</c:v>
                </c:pt>
                <c:pt idx="40">
                  <c:v>430.32305582042045</c:v>
                </c:pt>
                <c:pt idx="41">
                  <c:v>438.54765664857803</c:v>
                </c:pt>
                <c:pt idx="42">
                  <c:v>446.95632605035604</c:v>
                </c:pt>
                <c:pt idx="43">
                  <c:v>455.53661251442645</c:v>
                </c:pt>
                <c:pt idx="44">
                  <c:v>464.27987843987137</c:v>
                </c:pt>
                <c:pt idx="45">
                  <c:v>473.18074122990163</c:v>
                </c:pt>
                <c:pt idx="46">
                  <c:v>482.23907758340835</c:v>
                </c:pt>
                <c:pt idx="47">
                  <c:v>491.46676530305342</c:v>
                </c:pt>
                <c:pt idx="48">
                  <c:v>500.87342511318951</c:v>
                </c:pt>
                <c:pt idx="49">
                  <c:v>510.45543094893731</c:v>
                </c:pt>
                <c:pt idx="50">
                  <c:v>520.21139211572165</c:v>
                </c:pt>
                <c:pt idx="51">
                  <c:v>530.14574578578117</c:v>
                </c:pt>
                <c:pt idx="52">
                  <c:v>540.26057147478878</c:v>
                </c:pt>
                <c:pt idx="53">
                  <c:v>550.55488601015736</c:v>
                </c:pt>
                <c:pt idx="54">
                  <c:v>561.0349060881797</c:v>
                </c:pt>
                <c:pt idx="55">
                  <c:v>571.71009128814626</c:v>
                </c:pt>
                <c:pt idx="56">
                  <c:v>582.5821529236805</c:v>
                </c:pt>
                <c:pt idx="57">
                  <c:v>593.65172728142818</c:v>
                </c:pt>
                <c:pt idx="58">
                  <c:v>604.92192102134709</c:v>
                </c:pt>
                <c:pt idx="59">
                  <c:v>616.3959323153191</c:v>
                </c:pt>
                <c:pt idx="60">
                  <c:v>628.07847837935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9</c:v>
                </c:pt>
                <c:pt idx="1">
                  <c:v>30</c:v>
                </c:pt>
                <c:pt idx="2">
                  <c:v>43</c:v>
                </c:pt>
                <c:pt idx="3">
                  <c:v>57</c:v>
                </c:pt>
                <c:pt idx="4">
                  <c:v>67</c:v>
                </c:pt>
                <c:pt idx="5">
                  <c:v>83</c:v>
                </c:pt>
                <c:pt idx="6">
                  <c:v>93</c:v>
                </c:pt>
                <c:pt idx="7">
                  <c:v>112</c:v>
                </c:pt>
                <c:pt idx="8">
                  <c:v>125</c:v>
                </c:pt>
                <c:pt idx="9">
                  <c:v>146</c:v>
                </c:pt>
                <c:pt idx="10">
                  <c:v>153</c:v>
                </c:pt>
                <c:pt idx="11">
                  <c:v>170</c:v>
                </c:pt>
                <c:pt idx="12">
                  <c:v>179</c:v>
                </c:pt>
                <c:pt idx="13">
                  <c:v>186</c:v>
                </c:pt>
                <c:pt idx="14">
                  <c:v>199</c:v>
                </c:pt>
                <c:pt idx="15">
                  <c:v>211</c:v>
                </c:pt>
                <c:pt idx="16">
                  <c:v>225</c:v>
                </c:pt>
                <c:pt idx="17">
                  <c:v>234</c:v>
                </c:pt>
                <c:pt idx="18">
                  <c:v>242</c:v>
                </c:pt>
                <c:pt idx="19">
                  <c:v>251</c:v>
                </c:pt>
                <c:pt idx="20">
                  <c:v>260</c:v>
                </c:pt>
                <c:pt idx="21">
                  <c:v>269</c:v>
                </c:pt>
                <c:pt idx="22">
                  <c:v>274</c:v>
                </c:pt>
                <c:pt idx="23">
                  <c:v>280</c:v>
                </c:pt>
                <c:pt idx="24">
                  <c:v>288</c:v>
                </c:pt>
                <c:pt idx="25">
                  <c:v>293</c:v>
                </c:pt>
                <c:pt idx="26">
                  <c:v>298</c:v>
                </c:pt>
                <c:pt idx="27">
                  <c:v>305</c:v>
                </c:pt>
                <c:pt idx="28">
                  <c:v>315</c:v>
                </c:pt>
                <c:pt idx="29">
                  <c:v>320</c:v>
                </c:pt>
                <c:pt idx="30">
                  <c:v>328</c:v>
                </c:pt>
                <c:pt idx="31">
                  <c:v>332</c:v>
                </c:pt>
                <c:pt idx="32">
                  <c:v>338</c:v>
                </c:pt>
                <c:pt idx="33">
                  <c:v>345</c:v>
                </c:pt>
                <c:pt idx="34">
                  <c:v>350</c:v>
                </c:pt>
                <c:pt idx="35">
                  <c:v>357</c:v>
                </c:pt>
                <c:pt idx="36">
                  <c:v>364</c:v>
                </c:pt>
                <c:pt idx="37">
                  <c:v>368</c:v>
                </c:pt>
                <c:pt idx="38">
                  <c:v>373</c:v>
                </c:pt>
                <c:pt idx="39">
                  <c:v>376</c:v>
                </c:pt>
                <c:pt idx="40">
                  <c:v>378</c:v>
                </c:pt>
                <c:pt idx="41">
                  <c:v>379</c:v>
                </c:pt>
                <c:pt idx="42">
                  <c:v>381</c:v>
                </c:pt>
                <c:pt idx="43">
                  <c:v>384</c:v>
                </c:pt>
                <c:pt idx="44">
                  <c:v>385</c:v>
                </c:pt>
                <c:pt idx="45">
                  <c:v>388</c:v>
                </c:pt>
                <c:pt idx="46">
                  <c:v>391</c:v>
                </c:pt>
                <c:pt idx="47">
                  <c:v>395</c:v>
                </c:pt>
                <c:pt idx="48">
                  <c:v>396</c:v>
                </c:pt>
                <c:pt idx="49">
                  <c:v>400</c:v>
                </c:pt>
                <c:pt idx="50">
                  <c:v>401</c:v>
                </c:pt>
                <c:pt idx="51">
                  <c:v>403</c:v>
                </c:pt>
                <c:pt idx="52">
                  <c:v>403</c:v>
                </c:pt>
                <c:pt idx="53">
                  <c:v>40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33.75289707969466</c:v>
                </c:pt>
                <c:pt idx="32">
                  <c:v>340.32970642540761</c:v>
                </c:pt>
                <c:pt idx="33">
                  <c:v>346.75070438232285</c:v>
                </c:pt>
                <c:pt idx="34">
                  <c:v>353.08635297521658</c:v>
                </c:pt>
                <c:pt idx="35">
                  <c:v>359.32604780398884</c:v>
                </c:pt>
                <c:pt idx="36">
                  <c:v>365.42255615539597</c:v>
                </c:pt>
                <c:pt idx="37">
                  <c:v>371.35371333263163</c:v>
                </c:pt>
                <c:pt idx="38">
                  <c:v>377.13303095142379</c:v>
                </c:pt>
                <c:pt idx="39">
                  <c:v>382.72965842554765</c:v>
                </c:pt>
                <c:pt idx="40">
                  <c:v>388.1366102640502</c:v>
                </c:pt>
                <c:pt idx="41">
                  <c:v>393.36480513451301</c:v>
                </c:pt>
                <c:pt idx="42">
                  <c:v>398.40057963295169</c:v>
                </c:pt>
                <c:pt idx="43">
                  <c:v>403.22457373680993</c:v>
                </c:pt>
                <c:pt idx="44">
                  <c:v>407.83160139365606</c:v>
                </c:pt>
                <c:pt idx="45">
                  <c:v>412.2246248151427</c:v>
                </c:pt>
                <c:pt idx="46">
                  <c:v>416.41633339662502</c:v>
                </c:pt>
                <c:pt idx="47">
                  <c:v>420.42188249641026</c:v>
                </c:pt>
                <c:pt idx="48">
                  <c:v>424.24929675772444</c:v>
                </c:pt>
                <c:pt idx="49">
                  <c:v>427.89529443648462</c:v>
                </c:pt>
                <c:pt idx="50">
                  <c:v>431.36551375100919</c:v>
                </c:pt>
                <c:pt idx="51">
                  <c:v>434.6723679777831</c:v>
                </c:pt>
                <c:pt idx="52">
                  <c:v>437.82458964418402</c:v>
                </c:pt>
                <c:pt idx="53">
                  <c:v>440.82512875597774</c:v>
                </c:pt>
                <c:pt idx="54">
                  <c:v>443.68152510166442</c:v>
                </c:pt>
                <c:pt idx="55">
                  <c:v>446.40467136804546</c:v>
                </c:pt>
                <c:pt idx="56">
                  <c:v>449.00063376810851</c:v>
                </c:pt>
                <c:pt idx="57">
                  <c:v>451.47498986527825</c:v>
                </c:pt>
                <c:pt idx="58">
                  <c:v>453.83375776229212</c:v>
                </c:pt>
                <c:pt idx="59">
                  <c:v>456.08117486848658</c:v>
                </c:pt>
                <c:pt idx="60">
                  <c:v>458.22291705921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33.8244317534942</c:v>
                </c:pt>
                <c:pt idx="32">
                  <c:v>340.54191041395421</c:v>
                </c:pt>
                <c:pt idx="33">
                  <c:v>347.16476955276454</c:v>
                </c:pt>
                <c:pt idx="34">
                  <c:v>353.75893286855273</c:v>
                </c:pt>
                <c:pt idx="35">
                  <c:v>360.32305923765136</c:v>
                </c:pt>
                <c:pt idx="36">
                  <c:v>366.81942865096488</c:v>
                </c:pt>
                <c:pt idx="37">
                  <c:v>373.23503639937701</c:v>
                </c:pt>
                <c:pt idx="38">
                  <c:v>379.58987517877091</c:v>
                </c:pt>
                <c:pt idx="39">
                  <c:v>385.8469681398301</c:v>
                </c:pt>
                <c:pt idx="40">
                  <c:v>391.99429442874549</c:v>
                </c:pt>
                <c:pt idx="41">
                  <c:v>398.04197131001069</c:v>
                </c:pt>
                <c:pt idx="42">
                  <c:v>403.97528829476721</c:v>
                </c:pt>
                <c:pt idx="43">
                  <c:v>409.7717351368774</c:v>
                </c:pt>
                <c:pt idx="44">
                  <c:v>415.42171904151479</c:v>
                </c:pt>
                <c:pt idx="45">
                  <c:v>420.92274986799288</c:v>
                </c:pt>
                <c:pt idx="46">
                  <c:v>426.28033280637743</c:v>
                </c:pt>
                <c:pt idx="47">
                  <c:v>431.50451830444752</c:v>
                </c:pt>
                <c:pt idx="48">
                  <c:v>436.59894313661221</c:v>
                </c:pt>
                <c:pt idx="49">
                  <c:v>441.55634242396974</c:v>
                </c:pt>
                <c:pt idx="50">
                  <c:v>446.37804508174099</c:v>
                </c:pt>
                <c:pt idx="51">
                  <c:v>451.0711494788269</c:v>
                </c:pt>
                <c:pt idx="52">
                  <c:v>455.63950836837307</c:v>
                </c:pt>
                <c:pt idx="53">
                  <c:v>460.08170724534239</c:v>
                </c:pt>
                <c:pt idx="54">
                  <c:v>464.40193590007789</c:v>
                </c:pt>
                <c:pt idx="55">
                  <c:v>468.60795396674064</c:v>
                </c:pt>
                <c:pt idx="56">
                  <c:v>472.70213601491781</c:v>
                </c:pt>
                <c:pt idx="57">
                  <c:v>476.68681442277978</c:v>
                </c:pt>
                <c:pt idx="58">
                  <c:v>480.56513178169553</c:v>
                </c:pt>
                <c:pt idx="59">
                  <c:v>484.3384700380974</c:v>
                </c:pt>
                <c:pt idx="60">
                  <c:v>488.01007748690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33.89596642729367</c:v>
                </c:pt>
                <c:pt idx="32">
                  <c:v>340.75433935430522</c:v>
                </c:pt>
                <c:pt idx="33">
                  <c:v>347.57959540756707</c:v>
                </c:pt>
                <c:pt idx="34">
                  <c:v>354.43273729743237</c:v>
                </c:pt>
                <c:pt idx="35">
                  <c:v>361.32540888671645</c:v>
                </c:pt>
                <c:pt idx="36">
                  <c:v>368.232594300031</c:v>
                </c:pt>
                <c:pt idx="37">
                  <c:v>375.15378106158141</c:v>
                </c:pt>
                <c:pt idx="38">
                  <c:v>382.11814089084083</c:v>
                </c:pt>
                <c:pt idx="39">
                  <c:v>389.08371165126681</c:v>
                </c:pt>
                <c:pt idx="40">
                  <c:v>396.03475906339503</c:v>
                </c:pt>
                <c:pt idx="41">
                  <c:v>402.98410155852275</c:v>
                </c:pt>
                <c:pt idx="42">
                  <c:v>409.92052533263654</c:v>
                </c:pt>
                <c:pt idx="43">
                  <c:v>416.82258102472179</c:v>
                </c:pt>
                <c:pt idx="44">
                  <c:v>423.677865806196</c:v>
                </c:pt>
                <c:pt idx="45">
                  <c:v>430.48035681816958</c:v>
                </c:pt>
                <c:pt idx="46">
                  <c:v>437.23069913394704</c:v>
                </c:pt>
                <c:pt idx="47">
                  <c:v>443.93613904933932</c:v>
                </c:pt>
                <c:pt idx="48">
                  <c:v>450.59883656318203</c:v>
                </c:pt>
                <c:pt idx="49">
                  <c:v>457.20995308181557</c:v>
                </c:pt>
                <c:pt idx="50">
                  <c:v>463.76713458065564</c:v>
                </c:pt>
                <c:pt idx="51">
                  <c:v>470.27349002461699</c:v>
                </c:pt>
                <c:pt idx="52">
                  <c:v>476.72927790318761</c:v>
                </c:pt>
                <c:pt idx="53">
                  <c:v>483.13012619577859</c:v>
                </c:pt>
                <c:pt idx="54">
                  <c:v>489.47785278938886</c:v>
                </c:pt>
                <c:pt idx="55">
                  <c:v>495.77770493555107</c:v>
                </c:pt>
                <c:pt idx="56">
                  <c:v>502.02918294365168</c:v>
                </c:pt>
                <c:pt idx="57">
                  <c:v>508.23147425740098</c:v>
                </c:pt>
                <c:pt idx="58">
                  <c:v>514.38509476598006</c:v>
                </c:pt>
                <c:pt idx="59">
                  <c:v>520.48882734771655</c:v>
                </c:pt>
                <c:pt idx="60">
                  <c:v>526.54344852431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34.00349338979731</c:v>
                </c:pt>
                <c:pt idx="32">
                  <c:v>341.07318106968148</c:v>
                </c:pt>
                <c:pt idx="33">
                  <c:v>348.20160691802096</c:v>
                </c:pt>
                <c:pt idx="34">
                  <c:v>355.44274314992924</c:v>
                </c:pt>
                <c:pt idx="35">
                  <c:v>362.83430060597306</c:v>
                </c:pt>
                <c:pt idx="36">
                  <c:v>370.37734037565457</c:v>
                </c:pt>
                <c:pt idx="37">
                  <c:v>378.09548241001664</c:v>
                </c:pt>
                <c:pt idx="38">
                  <c:v>386.03714953426567</c:v>
                </c:pt>
                <c:pt idx="39">
                  <c:v>394.15362162370883</c:v>
                </c:pt>
                <c:pt idx="40">
                  <c:v>402.42959214686209</c:v>
                </c:pt>
                <c:pt idx="41">
                  <c:v>410.89013479101823</c:v>
                </c:pt>
                <c:pt idx="42">
                  <c:v>419.54066697082442</c:v>
                </c:pt>
                <c:pt idx="43">
                  <c:v>428.36827409809939</c:v>
                </c:pt>
                <c:pt idx="44">
                  <c:v>437.36308865695258</c:v>
                </c:pt>
                <c:pt idx="45">
                  <c:v>446.51970423524159</c:v>
                </c:pt>
                <c:pt idx="46">
                  <c:v>455.83809108411322</c:v>
                </c:pt>
                <c:pt idx="47">
                  <c:v>465.33067875281688</c:v>
                </c:pt>
                <c:pt idx="48">
                  <c:v>475.00718243241187</c:v>
                </c:pt>
                <c:pt idx="49">
                  <c:v>484.86416369665244</c:v>
                </c:pt>
                <c:pt idx="50">
                  <c:v>494.90075339883197</c:v>
                </c:pt>
                <c:pt idx="51">
                  <c:v>505.12077601564152</c:v>
                </c:pt>
                <c:pt idx="52">
                  <c:v>515.52580018737194</c:v>
                </c:pt>
                <c:pt idx="53">
                  <c:v>526.11539338367913</c:v>
                </c:pt>
                <c:pt idx="54">
                  <c:v>536.89642512240243</c:v>
                </c:pt>
                <c:pt idx="55">
                  <c:v>547.87822556172705</c:v>
                </c:pt>
                <c:pt idx="56">
                  <c:v>559.06230994554244</c:v>
                </c:pt>
                <c:pt idx="57">
                  <c:v>570.44963438539662</c:v>
                </c:pt>
                <c:pt idx="58">
                  <c:v>582.04335154168132</c:v>
                </c:pt>
                <c:pt idx="59">
                  <c:v>593.84667356601767</c:v>
                </c:pt>
                <c:pt idx="60">
                  <c:v>605.86452132178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</c:v>
                </c:pt>
                <c:pt idx="1">
                  <c:v>21</c:v>
                </c:pt>
                <c:pt idx="2">
                  <c:v>28</c:v>
                </c:pt>
                <c:pt idx="3">
                  <c:v>41</c:v>
                </c:pt>
                <c:pt idx="4">
                  <c:v>47</c:v>
                </c:pt>
                <c:pt idx="5">
                  <c:v>57</c:v>
                </c:pt>
                <c:pt idx="6">
                  <c:v>66</c:v>
                </c:pt>
                <c:pt idx="7">
                  <c:v>71</c:v>
                </c:pt>
                <c:pt idx="8">
                  <c:v>81</c:v>
                </c:pt>
                <c:pt idx="9">
                  <c:v>86</c:v>
                </c:pt>
                <c:pt idx="10">
                  <c:v>95</c:v>
                </c:pt>
                <c:pt idx="11">
                  <c:v>105</c:v>
                </c:pt>
                <c:pt idx="12">
                  <c:v>108</c:v>
                </c:pt>
                <c:pt idx="13">
                  <c:v>114</c:v>
                </c:pt>
                <c:pt idx="14">
                  <c:v>124</c:v>
                </c:pt>
                <c:pt idx="15">
                  <c:v>130</c:v>
                </c:pt>
                <c:pt idx="16">
                  <c:v>134</c:v>
                </c:pt>
                <c:pt idx="17">
                  <c:v>137</c:v>
                </c:pt>
                <c:pt idx="18">
                  <c:v>143</c:v>
                </c:pt>
                <c:pt idx="19">
                  <c:v>148</c:v>
                </c:pt>
                <c:pt idx="20">
                  <c:v>154</c:v>
                </c:pt>
                <c:pt idx="21">
                  <c:v>159</c:v>
                </c:pt>
                <c:pt idx="22">
                  <c:v>166</c:v>
                </c:pt>
                <c:pt idx="23">
                  <c:v>173</c:v>
                </c:pt>
                <c:pt idx="24">
                  <c:v>185</c:v>
                </c:pt>
                <c:pt idx="25">
                  <c:v>190</c:v>
                </c:pt>
                <c:pt idx="26">
                  <c:v>192</c:v>
                </c:pt>
                <c:pt idx="27">
                  <c:v>196</c:v>
                </c:pt>
                <c:pt idx="28">
                  <c:v>207</c:v>
                </c:pt>
                <c:pt idx="29">
                  <c:v>215</c:v>
                </c:pt>
                <c:pt idx="30">
                  <c:v>221</c:v>
                </c:pt>
                <c:pt idx="31">
                  <c:v>225</c:v>
                </c:pt>
                <c:pt idx="32">
                  <c:v>230</c:v>
                </c:pt>
                <c:pt idx="33">
                  <c:v>235</c:v>
                </c:pt>
                <c:pt idx="34">
                  <c:v>238</c:v>
                </c:pt>
                <c:pt idx="35">
                  <c:v>245</c:v>
                </c:pt>
                <c:pt idx="36">
                  <c:v>249</c:v>
                </c:pt>
                <c:pt idx="37">
                  <c:v>253</c:v>
                </c:pt>
                <c:pt idx="38">
                  <c:v>260</c:v>
                </c:pt>
                <c:pt idx="39">
                  <c:v>264</c:v>
                </c:pt>
                <c:pt idx="40">
                  <c:v>270</c:v>
                </c:pt>
                <c:pt idx="41">
                  <c:v>273</c:v>
                </c:pt>
                <c:pt idx="42">
                  <c:v>278</c:v>
                </c:pt>
                <c:pt idx="43">
                  <c:v>282</c:v>
                </c:pt>
                <c:pt idx="44">
                  <c:v>285</c:v>
                </c:pt>
                <c:pt idx="45">
                  <c:v>289</c:v>
                </c:pt>
                <c:pt idx="46">
                  <c:v>290</c:v>
                </c:pt>
                <c:pt idx="47">
                  <c:v>292</c:v>
                </c:pt>
                <c:pt idx="48">
                  <c:v>296</c:v>
                </c:pt>
                <c:pt idx="49">
                  <c:v>303</c:v>
                </c:pt>
                <c:pt idx="50">
                  <c:v>306</c:v>
                </c:pt>
                <c:pt idx="51">
                  <c:v>307</c:v>
                </c:pt>
                <c:pt idx="52">
                  <c:v>309</c:v>
                </c:pt>
                <c:pt idx="53">
                  <c:v>31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24.08511370614221</c:v>
                </c:pt>
                <c:pt idx="32">
                  <c:v>229.021630309486</c:v>
                </c:pt>
                <c:pt idx="33">
                  <c:v>233.83707613809935</c:v>
                </c:pt>
                <c:pt idx="34">
                  <c:v>238.59334280568552</c:v>
                </c:pt>
                <c:pt idx="35">
                  <c:v>243.28048132897365</c:v>
                </c:pt>
                <c:pt idx="36">
                  <c:v>247.85940000669692</c:v>
                </c:pt>
                <c:pt idx="37">
                  <c:v>252.31655566577138</c:v>
                </c:pt>
                <c:pt idx="38">
                  <c:v>256.66193036792259</c:v>
                </c:pt>
                <c:pt idx="39">
                  <c:v>260.86693052840081</c:v>
                </c:pt>
                <c:pt idx="40">
                  <c:v>264.92825207242367</c:v>
                </c:pt>
                <c:pt idx="41">
                  <c:v>268.85644363268142</c:v>
                </c:pt>
                <c:pt idx="42">
                  <c:v>272.64106332074675</c:v>
                </c:pt>
                <c:pt idx="43">
                  <c:v>276.26706804856292</c:v>
                </c:pt>
                <c:pt idx="44">
                  <c:v>279.72891167640284</c:v>
                </c:pt>
                <c:pt idx="45">
                  <c:v>283.02906561755765</c:v>
                </c:pt>
                <c:pt idx="46">
                  <c:v>286.17750812007665</c:v>
                </c:pt>
                <c:pt idx="47">
                  <c:v>289.18598337339677</c:v>
                </c:pt>
                <c:pt idx="48">
                  <c:v>292.06015858493788</c:v>
                </c:pt>
                <c:pt idx="49">
                  <c:v>294.79812771434132</c:v>
                </c:pt>
                <c:pt idx="50">
                  <c:v>297.40490935257833</c:v>
                </c:pt>
                <c:pt idx="51">
                  <c:v>299.88879930672522</c:v>
                </c:pt>
                <c:pt idx="52">
                  <c:v>302.25544642936768</c:v>
                </c:pt>
                <c:pt idx="53">
                  <c:v>304.50794031553949</c:v>
                </c:pt>
                <c:pt idx="54">
                  <c:v>306.65273207558857</c:v>
                </c:pt>
                <c:pt idx="55">
                  <c:v>308.69754860089142</c:v>
                </c:pt>
                <c:pt idx="56">
                  <c:v>310.64652901504417</c:v>
                </c:pt>
                <c:pt idx="57">
                  <c:v>312.50417713963827</c:v>
                </c:pt>
                <c:pt idx="58">
                  <c:v>314.27498057246339</c:v>
                </c:pt>
                <c:pt idx="59">
                  <c:v>315.96211292648161</c:v>
                </c:pt>
                <c:pt idx="60">
                  <c:v>317.56993319356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24.13828109396152</c:v>
                </c:pt>
                <c:pt idx="32">
                  <c:v>229.179123612414</c:v>
                </c:pt>
                <c:pt idx="33">
                  <c:v>234.14456293842028</c:v>
                </c:pt>
                <c:pt idx="34">
                  <c:v>239.09287773592337</c:v>
                </c:pt>
                <c:pt idx="35">
                  <c:v>244.02099947649933</c:v>
                </c:pt>
                <c:pt idx="36">
                  <c:v>248.89737177853777</c:v>
                </c:pt>
                <c:pt idx="37">
                  <c:v>253.71561949266683</c:v>
                </c:pt>
                <c:pt idx="38">
                  <c:v>258.49059681664801</c:v>
                </c:pt>
                <c:pt idx="39">
                  <c:v>263.189054059277</c:v>
                </c:pt>
                <c:pt idx="40">
                  <c:v>267.80407490901479</c:v>
                </c:pt>
                <c:pt idx="41">
                  <c:v>272.34565856632241</c:v>
                </c:pt>
                <c:pt idx="42">
                  <c:v>276.80236470668171</c:v>
                </c:pt>
                <c:pt idx="43">
                  <c:v>281.15688104250222</c:v>
                </c:pt>
                <c:pt idx="44">
                  <c:v>285.40040966400863</c:v>
                </c:pt>
                <c:pt idx="45">
                  <c:v>289.53130639586635</c:v>
                </c:pt>
                <c:pt idx="46">
                  <c:v>293.55407328336577</c:v>
                </c:pt>
                <c:pt idx="47">
                  <c:v>297.47658571775355</c:v>
                </c:pt>
                <c:pt idx="48">
                  <c:v>301.30123298925378</c:v>
                </c:pt>
                <c:pt idx="49">
                  <c:v>305.02307826835511</c:v>
                </c:pt>
                <c:pt idx="50">
                  <c:v>308.64389761827351</c:v>
                </c:pt>
                <c:pt idx="51">
                  <c:v>312.16798312865939</c:v>
                </c:pt>
                <c:pt idx="52">
                  <c:v>315.59734803969485</c:v>
                </c:pt>
                <c:pt idx="53">
                  <c:v>318.93179286037747</c:v>
                </c:pt>
                <c:pt idx="54">
                  <c:v>322.1752180124588</c:v>
                </c:pt>
                <c:pt idx="55">
                  <c:v>325.33295591250823</c:v>
                </c:pt>
                <c:pt idx="56">
                  <c:v>328.40639171453239</c:v>
                </c:pt>
                <c:pt idx="57">
                  <c:v>331.39762389353501</c:v>
                </c:pt>
                <c:pt idx="58">
                  <c:v>334.30896821250087</c:v>
                </c:pt>
                <c:pt idx="59">
                  <c:v>337.14143002690332</c:v>
                </c:pt>
                <c:pt idx="60">
                  <c:v>339.89754766067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24.19144848178084</c:v>
                </c:pt>
                <c:pt idx="32">
                  <c:v>229.33678410838542</c:v>
                </c:pt>
                <c:pt idx="33">
                  <c:v>234.45261440158615</c:v>
                </c:pt>
                <c:pt idx="34">
                  <c:v>239.59332166919171</c:v>
                </c:pt>
                <c:pt idx="35">
                  <c:v>244.76548485865078</c:v>
                </c:pt>
                <c:pt idx="36">
                  <c:v>249.94744078380808</c:v>
                </c:pt>
                <c:pt idx="37">
                  <c:v>255.14247291412835</c:v>
                </c:pt>
                <c:pt idx="38">
                  <c:v>260.37230887174445</c:v>
                </c:pt>
                <c:pt idx="39">
                  <c:v>265.59988914931722</c:v>
                </c:pt>
                <c:pt idx="40">
                  <c:v>270.81569235964128</c:v>
                </c:pt>
                <c:pt idx="41">
                  <c:v>276.03180434740591</c:v>
                </c:pt>
                <c:pt idx="42">
                  <c:v>281.23920166274507</c:v>
                </c:pt>
                <c:pt idx="43">
                  <c:v>286.4214710329349</c:v>
                </c:pt>
                <c:pt idx="44">
                  <c:v>291.56777884883047</c:v>
                </c:pt>
                <c:pt idx="45">
                  <c:v>296.6738179858412</c:v>
                </c:pt>
                <c:pt idx="46">
                  <c:v>301.74034769635659</c:v>
                </c:pt>
                <c:pt idx="47">
                  <c:v>306.77311767015357</c:v>
                </c:pt>
                <c:pt idx="48">
                  <c:v>311.77343978115641</c:v>
                </c:pt>
                <c:pt idx="49">
                  <c:v>316.73515397213703</c:v>
                </c:pt>
                <c:pt idx="50">
                  <c:v>321.6572765168309</c:v>
                </c:pt>
                <c:pt idx="51">
                  <c:v>326.5410982136176</c:v>
                </c:pt>
                <c:pt idx="52">
                  <c:v>331.38595641894744</c:v>
                </c:pt>
                <c:pt idx="53">
                  <c:v>336.18942004980312</c:v>
                </c:pt>
                <c:pt idx="54">
                  <c:v>340.9535766337633</c:v>
                </c:pt>
                <c:pt idx="55">
                  <c:v>345.68183660742534</c:v>
                </c:pt>
                <c:pt idx="56">
                  <c:v>350.37344290395265</c:v>
                </c:pt>
                <c:pt idx="57">
                  <c:v>355.02816501910712</c:v>
                </c:pt>
                <c:pt idx="58">
                  <c:v>359.64634128931823</c:v>
                </c:pt>
                <c:pt idx="59">
                  <c:v>364.22699630257642</c:v>
                </c:pt>
                <c:pt idx="60">
                  <c:v>368.7708137052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24.27136675655322</c:v>
                </c:pt>
                <c:pt idx="32">
                  <c:v>229.57342153257875</c:v>
                </c:pt>
                <c:pt idx="33">
                  <c:v>234.91452332833998</c:v>
                </c:pt>
                <c:pt idx="34">
                  <c:v>240.34346776096433</c:v>
                </c:pt>
                <c:pt idx="35">
                  <c:v>245.88620235833994</c:v>
                </c:pt>
                <c:pt idx="36">
                  <c:v>251.54110503859482</c:v>
                </c:pt>
                <c:pt idx="37">
                  <c:v>257.32996801548114</c:v>
                </c:pt>
                <c:pt idx="38">
                  <c:v>263.28890074501504</c:v>
                </c:pt>
                <c:pt idx="39">
                  <c:v>269.37565510741359</c:v>
                </c:pt>
                <c:pt idx="40">
                  <c:v>275.58131875438534</c:v>
                </c:pt>
                <c:pt idx="41">
                  <c:v>281.92725177439718</c:v>
                </c:pt>
                <c:pt idx="42">
                  <c:v>288.41660690991063</c:v>
                </c:pt>
                <c:pt idx="43">
                  <c:v>295.03954565042341</c:v>
                </c:pt>
                <c:pt idx="44">
                  <c:v>301.78725893604462</c:v>
                </c:pt>
                <c:pt idx="45">
                  <c:v>308.65587882333972</c:v>
                </c:pt>
                <c:pt idx="46">
                  <c:v>315.64552216988665</c:v>
                </c:pt>
                <c:pt idx="47">
                  <c:v>322.76581437049276</c:v>
                </c:pt>
                <c:pt idx="48">
                  <c:v>330.02378221715463</c:v>
                </c:pt>
                <c:pt idx="49">
                  <c:v>337.41726475213932</c:v>
                </c:pt>
                <c:pt idx="50">
                  <c:v>344.94641485179125</c:v>
                </c:pt>
                <c:pt idx="51">
                  <c:v>352.61304039184574</c:v>
                </c:pt>
                <c:pt idx="52">
                  <c:v>360.41750013268324</c:v>
                </c:pt>
                <c:pt idx="53">
                  <c:v>368.36029938701995</c:v>
                </c:pt>
                <c:pt idx="54">
                  <c:v>376.44727085663385</c:v>
                </c:pt>
                <c:pt idx="55">
                  <c:v>384.68483823355245</c:v>
                </c:pt>
                <c:pt idx="56">
                  <c:v>393.07378662086438</c:v>
                </c:pt>
                <c:pt idx="57">
                  <c:v>401.61526544386192</c:v>
                </c:pt>
                <c:pt idx="58">
                  <c:v>410.31157758236697</c:v>
                </c:pt>
                <c:pt idx="59">
                  <c:v>419.1650208757556</c:v>
                </c:pt>
                <c:pt idx="60">
                  <c:v>428.17938421393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4</c:v>
                </c:pt>
                <c:pt idx="2">
                  <c:v>18</c:v>
                </c:pt>
                <c:pt idx="3">
                  <c:v>23</c:v>
                </c:pt>
                <c:pt idx="4">
                  <c:v>30</c:v>
                </c:pt>
                <c:pt idx="5">
                  <c:v>33</c:v>
                </c:pt>
                <c:pt idx="6">
                  <c:v>36</c:v>
                </c:pt>
                <c:pt idx="7">
                  <c:v>46</c:v>
                </c:pt>
                <c:pt idx="8">
                  <c:v>50</c:v>
                </c:pt>
                <c:pt idx="9">
                  <c:v>60</c:v>
                </c:pt>
                <c:pt idx="10">
                  <c:v>63</c:v>
                </c:pt>
                <c:pt idx="11">
                  <c:v>67</c:v>
                </c:pt>
                <c:pt idx="12">
                  <c:v>73</c:v>
                </c:pt>
                <c:pt idx="13">
                  <c:v>76</c:v>
                </c:pt>
                <c:pt idx="14">
                  <c:v>86</c:v>
                </c:pt>
                <c:pt idx="15">
                  <c:v>93</c:v>
                </c:pt>
                <c:pt idx="16">
                  <c:v>98</c:v>
                </c:pt>
                <c:pt idx="17">
                  <c:v>103</c:v>
                </c:pt>
                <c:pt idx="18">
                  <c:v>110</c:v>
                </c:pt>
                <c:pt idx="19">
                  <c:v>112</c:v>
                </c:pt>
                <c:pt idx="20">
                  <c:v>118</c:v>
                </c:pt>
                <c:pt idx="21">
                  <c:v>123</c:v>
                </c:pt>
                <c:pt idx="22">
                  <c:v>130</c:v>
                </c:pt>
                <c:pt idx="23">
                  <c:v>135</c:v>
                </c:pt>
                <c:pt idx="24">
                  <c:v>140</c:v>
                </c:pt>
                <c:pt idx="25">
                  <c:v>142</c:v>
                </c:pt>
                <c:pt idx="26">
                  <c:v>148</c:v>
                </c:pt>
                <c:pt idx="27">
                  <c:v>150</c:v>
                </c:pt>
                <c:pt idx="28">
                  <c:v>156</c:v>
                </c:pt>
                <c:pt idx="29">
                  <c:v>163</c:v>
                </c:pt>
                <c:pt idx="30">
                  <c:v>167</c:v>
                </c:pt>
                <c:pt idx="31">
                  <c:v>172</c:v>
                </c:pt>
                <c:pt idx="32">
                  <c:v>176</c:v>
                </c:pt>
                <c:pt idx="33">
                  <c:v>180</c:v>
                </c:pt>
                <c:pt idx="34">
                  <c:v>182</c:v>
                </c:pt>
                <c:pt idx="35">
                  <c:v>186</c:v>
                </c:pt>
                <c:pt idx="36">
                  <c:v>192</c:v>
                </c:pt>
                <c:pt idx="37">
                  <c:v>196</c:v>
                </c:pt>
                <c:pt idx="38">
                  <c:v>204</c:v>
                </c:pt>
                <c:pt idx="39">
                  <c:v>209</c:v>
                </c:pt>
                <c:pt idx="40">
                  <c:v>216</c:v>
                </c:pt>
                <c:pt idx="41">
                  <c:v>218</c:v>
                </c:pt>
                <c:pt idx="42">
                  <c:v>222</c:v>
                </c:pt>
                <c:pt idx="43">
                  <c:v>223</c:v>
                </c:pt>
                <c:pt idx="44">
                  <c:v>228</c:v>
                </c:pt>
                <c:pt idx="45">
                  <c:v>230</c:v>
                </c:pt>
                <c:pt idx="46">
                  <c:v>236</c:v>
                </c:pt>
                <c:pt idx="47">
                  <c:v>238</c:v>
                </c:pt>
                <c:pt idx="48">
                  <c:v>241</c:v>
                </c:pt>
                <c:pt idx="49">
                  <c:v>243</c:v>
                </c:pt>
                <c:pt idx="50">
                  <c:v>248</c:v>
                </c:pt>
                <c:pt idx="51">
                  <c:v>252</c:v>
                </c:pt>
                <c:pt idx="52">
                  <c:v>254</c:v>
                </c:pt>
                <c:pt idx="53">
                  <c:v>25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69.22846127380652</c:v>
                </c:pt>
                <c:pt idx="32">
                  <c:v>172.3724540270693</c:v>
                </c:pt>
                <c:pt idx="33">
                  <c:v>175.44188933759062</c:v>
                </c:pt>
                <c:pt idx="34">
                  <c:v>178.47061060220236</c:v>
                </c:pt>
                <c:pt idx="35">
                  <c:v>181.45351321007251</c:v>
                </c:pt>
                <c:pt idx="36">
                  <c:v>184.36795342979991</c:v>
                </c:pt>
                <c:pt idx="37">
                  <c:v>187.20339042907344</c:v>
                </c:pt>
                <c:pt idx="38">
                  <c:v>189.96628050092338</c:v>
                </c:pt>
                <c:pt idx="39">
                  <c:v>192.64177939146217</c:v>
                </c:pt>
                <c:pt idx="40">
                  <c:v>195.2265821109383</c:v>
                </c:pt>
                <c:pt idx="41">
                  <c:v>197.72594995059265</c:v>
                </c:pt>
                <c:pt idx="42">
                  <c:v>200.13334792558834</c:v>
                </c:pt>
                <c:pt idx="43">
                  <c:v>202.43951206026253</c:v>
                </c:pt>
                <c:pt idx="44">
                  <c:v>204.641933895682</c:v>
                </c:pt>
                <c:pt idx="45">
                  <c:v>206.74203388958739</c:v>
                </c:pt>
                <c:pt idx="46">
                  <c:v>208.74588614970153</c:v>
                </c:pt>
                <c:pt idx="47">
                  <c:v>210.66074211175948</c:v>
                </c:pt>
                <c:pt idx="48">
                  <c:v>212.49043158377998</c:v>
                </c:pt>
                <c:pt idx="49">
                  <c:v>214.23339562950477</c:v>
                </c:pt>
                <c:pt idx="50">
                  <c:v>215.89234349669007</c:v>
                </c:pt>
                <c:pt idx="51">
                  <c:v>217.47319115052176</c:v>
                </c:pt>
                <c:pt idx="52">
                  <c:v>218.98009705493516</c:v>
                </c:pt>
                <c:pt idx="53">
                  <c:v>220.41448695170089</c:v>
                </c:pt>
                <c:pt idx="54">
                  <c:v>221.77997921183339</c:v>
                </c:pt>
                <c:pt idx="55">
                  <c:v>223.08177304009064</c:v>
                </c:pt>
                <c:pt idx="56">
                  <c:v>224.32276100238573</c:v>
                </c:pt>
                <c:pt idx="57">
                  <c:v>225.50561503408093</c:v>
                </c:pt>
                <c:pt idx="58">
                  <c:v>226.63321151870406</c:v>
                </c:pt>
                <c:pt idx="59">
                  <c:v>227.70757599354772</c:v>
                </c:pt>
                <c:pt idx="60">
                  <c:v>228.73142351639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69.26264854512695</c:v>
                </c:pt>
                <c:pt idx="32">
                  <c:v>172.4738648478245</c:v>
                </c:pt>
                <c:pt idx="33">
                  <c:v>175.63977134982954</c:v>
                </c:pt>
                <c:pt idx="34">
                  <c:v>178.7920382762085</c:v>
                </c:pt>
                <c:pt idx="35">
                  <c:v>181.92998796851808</c:v>
                </c:pt>
                <c:pt idx="36">
                  <c:v>185.03553117323034</c:v>
                </c:pt>
                <c:pt idx="37">
                  <c:v>188.10251110497228</c:v>
                </c:pt>
                <c:pt idx="38">
                  <c:v>191.14048241938431</c:v>
                </c:pt>
                <c:pt idx="39">
                  <c:v>194.13167122610972</c:v>
                </c:pt>
                <c:pt idx="40">
                  <c:v>197.07036838402266</c:v>
                </c:pt>
                <c:pt idx="41">
                  <c:v>199.9614530031786</c:v>
                </c:pt>
                <c:pt idx="42">
                  <c:v>202.79788578160446</c:v>
                </c:pt>
                <c:pt idx="43">
                  <c:v>205.56889849347004</c:v>
                </c:pt>
                <c:pt idx="44">
                  <c:v>208.26987706165937</c:v>
                </c:pt>
                <c:pt idx="45">
                  <c:v>210.89963507999582</c:v>
                </c:pt>
                <c:pt idx="46">
                  <c:v>213.46081081765035</c:v>
                </c:pt>
                <c:pt idx="47">
                  <c:v>215.95821469021743</c:v>
                </c:pt>
                <c:pt idx="48">
                  <c:v>218.3935791953881</c:v>
                </c:pt>
                <c:pt idx="49">
                  <c:v>220.76344056223923</c:v>
                </c:pt>
                <c:pt idx="50">
                  <c:v>223.06844786797626</c:v>
                </c:pt>
                <c:pt idx="51">
                  <c:v>225.31197607257096</c:v>
                </c:pt>
                <c:pt idx="52">
                  <c:v>227.49585138234858</c:v>
                </c:pt>
                <c:pt idx="53">
                  <c:v>229.61941288617234</c:v>
                </c:pt>
                <c:pt idx="54">
                  <c:v>231.68467687281299</c:v>
                </c:pt>
                <c:pt idx="55">
                  <c:v>233.69534405649986</c:v>
                </c:pt>
                <c:pt idx="56">
                  <c:v>235.6525425421718</c:v>
                </c:pt>
                <c:pt idx="57">
                  <c:v>237.55739346959518</c:v>
                </c:pt>
                <c:pt idx="58">
                  <c:v>239.41139836723715</c:v>
                </c:pt>
                <c:pt idx="59">
                  <c:v>241.21521729803291</c:v>
                </c:pt>
                <c:pt idx="60">
                  <c:v>242.97040485963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69.29683581644733</c:v>
                </c:pt>
                <c:pt idx="32">
                  <c:v>172.57538317572218</c:v>
                </c:pt>
                <c:pt idx="33">
                  <c:v>175.83801688962691</c:v>
                </c:pt>
                <c:pt idx="34">
                  <c:v>179.11405115046219</c:v>
                </c:pt>
                <c:pt idx="35">
                  <c:v>182.40901391760869</c:v>
                </c:pt>
                <c:pt idx="36">
                  <c:v>185.71089538728339</c:v>
                </c:pt>
                <c:pt idx="37">
                  <c:v>189.01951558791819</c:v>
                </c:pt>
                <c:pt idx="38">
                  <c:v>192.34881684736945</c:v>
                </c:pt>
                <c:pt idx="39">
                  <c:v>195.6786408941214</c:v>
                </c:pt>
                <c:pt idx="40">
                  <c:v>199.00150664199307</c:v>
                </c:pt>
                <c:pt idx="41">
                  <c:v>202.32358552150816</c:v>
                </c:pt>
                <c:pt idx="42">
                  <c:v>205.63950611223106</c:v>
                </c:pt>
                <c:pt idx="43">
                  <c:v>208.93900915684901</c:v>
                </c:pt>
                <c:pt idx="44">
                  <c:v>212.2161385660211</c:v>
                </c:pt>
                <c:pt idx="45">
                  <c:v>215.46801894453642</c:v>
                </c:pt>
                <c:pt idx="46">
                  <c:v>218.69496353989101</c:v>
                </c:pt>
                <c:pt idx="47">
                  <c:v>221.9004418937628</c:v>
                </c:pt>
                <c:pt idx="48">
                  <c:v>225.0854810929284</c:v>
                </c:pt>
                <c:pt idx="49">
                  <c:v>228.24586431980512</c:v>
                </c:pt>
                <c:pt idx="50">
                  <c:v>231.38048013237164</c:v>
                </c:pt>
                <c:pt idx="51">
                  <c:v>234.49079626522661</c:v>
                </c:pt>
                <c:pt idx="52">
                  <c:v>237.57692110385082</c:v>
                </c:pt>
                <c:pt idx="53">
                  <c:v>240.63677971239099</c:v>
                </c:pt>
                <c:pt idx="54">
                  <c:v>243.67125393257001</c:v>
                </c:pt>
                <c:pt idx="55">
                  <c:v>246.68284281197072</c:v>
                </c:pt>
                <c:pt idx="56">
                  <c:v>249.67130070681191</c:v>
                </c:pt>
                <c:pt idx="57">
                  <c:v>252.63624590522406</c:v>
                </c:pt>
                <c:pt idx="58">
                  <c:v>255.5779241575637</c:v>
                </c:pt>
                <c:pt idx="59">
                  <c:v>258.49575253207212</c:v>
                </c:pt>
                <c:pt idx="60">
                  <c:v>261.39010402538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69.34822423057045</c:v>
                </c:pt>
                <c:pt idx="32">
                  <c:v>172.72775542727081</c:v>
                </c:pt>
                <c:pt idx="33">
                  <c:v>176.13527659495941</c:v>
                </c:pt>
                <c:pt idx="34">
                  <c:v>179.59673556413534</c:v>
                </c:pt>
                <c:pt idx="35">
                  <c:v>183.13011791670169</c:v>
                </c:pt>
                <c:pt idx="36">
                  <c:v>186.73588803254142</c:v>
                </c:pt>
                <c:pt idx="37">
                  <c:v>190.42540926209369</c:v>
                </c:pt>
                <c:pt idx="38">
                  <c:v>194.22182557101345</c:v>
                </c:pt>
                <c:pt idx="39">
                  <c:v>198.10174602609385</c:v>
                </c:pt>
                <c:pt idx="40">
                  <c:v>202.05789912677238</c:v>
                </c:pt>
                <c:pt idx="41">
                  <c:v>206.1023161722004</c:v>
                </c:pt>
                <c:pt idx="42">
                  <c:v>210.23757072402336</c:v>
                </c:pt>
                <c:pt idx="43">
                  <c:v>214.45748649536489</c:v>
                </c:pt>
                <c:pt idx="44">
                  <c:v>218.7573215379465</c:v>
                </c:pt>
                <c:pt idx="45">
                  <c:v>223.13449472727689</c:v>
                </c:pt>
                <c:pt idx="46">
                  <c:v>227.58899430907934</c:v>
                </c:pt>
                <c:pt idx="47">
                  <c:v>232.12676737657904</c:v>
                </c:pt>
                <c:pt idx="48">
                  <c:v>236.75245349809097</c:v>
                </c:pt>
                <c:pt idx="49">
                  <c:v>241.46441640295046</c:v>
                </c:pt>
                <c:pt idx="50">
                  <c:v>246.26225487451688</c:v>
                </c:pt>
                <c:pt idx="51">
                  <c:v>251.14777833809484</c:v>
                </c:pt>
                <c:pt idx="52">
                  <c:v>256.12172216032616</c:v>
                </c:pt>
                <c:pt idx="53">
                  <c:v>261.18389428367755</c:v>
                </c:pt>
                <c:pt idx="54">
                  <c:v>266.33759061777693</c:v>
                </c:pt>
                <c:pt idx="55">
                  <c:v>271.58726110194948</c:v>
                </c:pt>
                <c:pt idx="56">
                  <c:v>276.93362384390446</c:v>
                </c:pt>
                <c:pt idx="57">
                  <c:v>282.37714355805781</c:v>
                </c:pt>
                <c:pt idx="58">
                  <c:v>287.91932622400242</c:v>
                </c:pt>
                <c:pt idx="59">
                  <c:v>293.56170537987811</c:v>
                </c:pt>
                <c:pt idx="60">
                  <c:v>299.30663509568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40</c:v>
                </c:pt>
                <c:pt idx="2">
                  <c:v>66</c:v>
                </c:pt>
                <c:pt idx="3">
                  <c:v>97</c:v>
                </c:pt>
                <c:pt idx="4">
                  <c:v>125</c:v>
                </c:pt>
                <c:pt idx="5">
                  <c:v>143</c:v>
                </c:pt>
                <c:pt idx="6">
                  <c:v>166</c:v>
                </c:pt>
                <c:pt idx="7">
                  <c:v>191</c:v>
                </c:pt>
                <c:pt idx="8">
                  <c:v>217</c:v>
                </c:pt>
                <c:pt idx="9">
                  <c:v>243</c:v>
                </c:pt>
                <c:pt idx="10">
                  <c:v>269</c:v>
                </c:pt>
                <c:pt idx="11">
                  <c:v>287</c:v>
                </c:pt>
                <c:pt idx="12">
                  <c:v>304</c:v>
                </c:pt>
                <c:pt idx="13">
                  <c:v>323</c:v>
                </c:pt>
                <c:pt idx="14">
                  <c:v>359</c:v>
                </c:pt>
                <c:pt idx="15">
                  <c:v>374</c:v>
                </c:pt>
                <c:pt idx="16">
                  <c:v>396</c:v>
                </c:pt>
                <c:pt idx="17">
                  <c:v>420</c:v>
                </c:pt>
                <c:pt idx="18">
                  <c:v>436</c:v>
                </c:pt>
                <c:pt idx="19">
                  <c:v>454</c:v>
                </c:pt>
                <c:pt idx="20">
                  <c:v>471</c:v>
                </c:pt>
                <c:pt idx="21">
                  <c:v>495</c:v>
                </c:pt>
                <c:pt idx="22">
                  <c:v>515</c:v>
                </c:pt>
                <c:pt idx="23">
                  <c:v>531</c:v>
                </c:pt>
                <c:pt idx="24">
                  <c:v>562</c:v>
                </c:pt>
                <c:pt idx="25">
                  <c:v>584</c:v>
                </c:pt>
                <c:pt idx="26">
                  <c:v>600</c:v>
                </c:pt>
                <c:pt idx="27">
                  <c:v>609</c:v>
                </c:pt>
                <c:pt idx="28">
                  <c:v>626</c:v>
                </c:pt>
                <c:pt idx="29">
                  <c:v>647</c:v>
                </c:pt>
                <c:pt idx="30">
                  <c:v>667</c:v>
                </c:pt>
                <c:pt idx="31">
                  <c:v>698</c:v>
                </c:pt>
                <c:pt idx="32">
                  <c:v>713</c:v>
                </c:pt>
                <c:pt idx="33">
                  <c:v>722</c:v>
                </c:pt>
                <c:pt idx="34">
                  <c:v>736</c:v>
                </c:pt>
                <c:pt idx="35">
                  <c:v>748</c:v>
                </c:pt>
                <c:pt idx="36">
                  <c:v>767</c:v>
                </c:pt>
                <c:pt idx="37">
                  <c:v>787</c:v>
                </c:pt>
                <c:pt idx="38">
                  <c:v>800</c:v>
                </c:pt>
                <c:pt idx="39">
                  <c:v>810</c:v>
                </c:pt>
                <c:pt idx="40">
                  <c:v>826</c:v>
                </c:pt>
                <c:pt idx="41">
                  <c:v>838</c:v>
                </c:pt>
                <c:pt idx="42">
                  <c:v>853</c:v>
                </c:pt>
                <c:pt idx="43">
                  <c:v>862</c:v>
                </c:pt>
                <c:pt idx="44">
                  <c:v>873</c:v>
                </c:pt>
                <c:pt idx="45">
                  <c:v>884</c:v>
                </c:pt>
                <c:pt idx="46">
                  <c:v>897</c:v>
                </c:pt>
                <c:pt idx="47">
                  <c:v>911</c:v>
                </c:pt>
                <c:pt idx="48">
                  <c:v>919</c:v>
                </c:pt>
                <c:pt idx="49">
                  <c:v>934</c:v>
                </c:pt>
                <c:pt idx="50">
                  <c:v>941</c:v>
                </c:pt>
                <c:pt idx="51">
                  <c:v>949</c:v>
                </c:pt>
                <c:pt idx="52">
                  <c:v>961</c:v>
                </c:pt>
                <c:pt idx="53">
                  <c:v>968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681.96631121611426</c:v>
                </c:pt>
                <c:pt idx="32">
                  <c:v>698.51808855042088</c:v>
                </c:pt>
                <c:pt idx="33">
                  <c:v>714.68491580368857</c:v>
                </c:pt>
                <c:pt idx="34">
                  <c:v>730.6284354826189</c:v>
                </c:pt>
                <c:pt idx="35">
                  <c:v>746.32542618827563</c:v>
                </c:pt>
                <c:pt idx="36">
                  <c:v>761.66335916475145</c:v>
                </c:pt>
                <c:pt idx="37">
                  <c:v>776.58106220161255</c:v>
                </c:pt>
                <c:pt idx="38">
                  <c:v>791.11281807234911</c:v>
                </c:pt>
                <c:pt idx="39">
                  <c:v>805.19046018441475</c:v>
                </c:pt>
                <c:pt idx="40">
                  <c:v>818.79302911503578</c:v>
                </c:pt>
                <c:pt idx="41">
                  <c:v>831.94390330751355</c:v>
                </c:pt>
                <c:pt idx="42">
                  <c:v>844.60902072009981</c:v>
                </c:pt>
                <c:pt idx="43">
                  <c:v>856.74054963265417</c:v>
                </c:pt>
                <c:pt idx="44">
                  <c:v>868.32831968513938</c:v>
                </c:pt>
                <c:pt idx="45">
                  <c:v>879.37935370194725</c:v>
                </c:pt>
                <c:pt idx="46">
                  <c:v>889.92479641591365</c:v>
                </c:pt>
                <c:pt idx="47">
                  <c:v>900.00214672926961</c:v>
                </c:pt>
                <c:pt idx="48">
                  <c:v>909.63222058769247</c:v>
                </c:pt>
                <c:pt idx="49">
                  <c:v>918.8057878910422</c:v>
                </c:pt>
                <c:pt idx="50">
                  <c:v>927.53566763854587</c:v>
                </c:pt>
                <c:pt idx="51">
                  <c:v>935.8548802275634</c:v>
                </c:pt>
                <c:pt idx="52">
                  <c:v>943.78698098049972</c:v>
                </c:pt>
                <c:pt idx="53">
                  <c:v>951.33786883403081</c:v>
                </c:pt>
                <c:pt idx="54">
                  <c:v>958.52513936532137</c:v>
                </c:pt>
                <c:pt idx="55">
                  <c:v>965.37698864041158</c:v>
                </c:pt>
                <c:pt idx="56">
                  <c:v>971.90940508315521</c:v>
                </c:pt>
                <c:pt idx="57">
                  <c:v>978.13587271529514</c:v>
                </c:pt>
                <c:pt idx="58">
                  <c:v>984.07158872764558</c:v>
                </c:pt>
                <c:pt idx="59">
                  <c:v>989.72722949079036</c:v>
                </c:pt>
                <c:pt idx="60">
                  <c:v>995.11690740408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682.14725849422211</c:v>
                </c:pt>
                <c:pt idx="32">
                  <c:v>699.05525166905136</c:v>
                </c:pt>
                <c:pt idx="33">
                  <c:v>715.73275335575147</c:v>
                </c:pt>
                <c:pt idx="34">
                  <c:v>732.33034435668048</c:v>
                </c:pt>
                <c:pt idx="35">
                  <c:v>748.84824239950535</c:v>
                </c:pt>
                <c:pt idx="36">
                  <c:v>765.19717069649948</c:v>
                </c:pt>
                <c:pt idx="37">
                  <c:v>781.33850002345525</c:v>
                </c:pt>
                <c:pt idx="38">
                  <c:v>797.32281098830447</c:v>
                </c:pt>
                <c:pt idx="39">
                  <c:v>813.06661976732642</c:v>
                </c:pt>
                <c:pt idx="40">
                  <c:v>828.53600301102324</c:v>
                </c:pt>
                <c:pt idx="41">
                  <c:v>843.75223150107615</c:v>
                </c:pt>
                <c:pt idx="42">
                  <c:v>858.67897829894059</c:v>
                </c:pt>
                <c:pt idx="43">
                  <c:v>873.26031741959264</c:v>
                </c:pt>
                <c:pt idx="44">
                  <c:v>887.47489068828611</c:v>
                </c:pt>
                <c:pt idx="45">
                  <c:v>901.31603928292213</c:v>
                </c:pt>
                <c:pt idx="46">
                  <c:v>914.79697351942195</c:v>
                </c:pt>
                <c:pt idx="47">
                  <c:v>927.94240944726812</c:v>
                </c:pt>
                <c:pt idx="48">
                  <c:v>940.76209294420164</c:v>
                </c:pt>
                <c:pt idx="49">
                  <c:v>953.2368411688326</c:v>
                </c:pt>
                <c:pt idx="50">
                  <c:v>965.36864186959269</c:v>
                </c:pt>
                <c:pt idx="51">
                  <c:v>977.17716453251364</c:v>
                </c:pt>
                <c:pt idx="52">
                  <c:v>988.67363635464517</c:v>
                </c:pt>
                <c:pt idx="53">
                  <c:v>999.85299500253632</c:v>
                </c:pt>
                <c:pt idx="54">
                  <c:v>1010.7244682304538</c:v>
                </c:pt>
                <c:pt idx="55">
                  <c:v>1021.3084418088351</c:v>
                </c:pt>
                <c:pt idx="56">
                  <c:v>1031.6115838977767</c:v>
                </c:pt>
                <c:pt idx="57">
                  <c:v>1041.639158302494</c:v>
                </c:pt>
                <c:pt idx="58">
                  <c:v>1051.3991489589553</c:v>
                </c:pt>
                <c:pt idx="59">
                  <c:v>1060.8950894271863</c:v>
                </c:pt>
                <c:pt idx="60">
                  <c:v>1070.1349800990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682.32820577232974</c:v>
                </c:pt>
                <c:pt idx="32">
                  <c:v>699.59298380427924</c:v>
                </c:pt>
                <c:pt idx="33">
                  <c:v>716.78251629558019</c:v>
                </c:pt>
                <c:pt idx="34">
                  <c:v>734.03535265058088</c:v>
                </c:pt>
                <c:pt idx="35">
                  <c:v>751.38456223841217</c:v>
                </c:pt>
                <c:pt idx="36">
                  <c:v>768.77221758019914</c:v>
                </c:pt>
                <c:pt idx="37">
                  <c:v>786.19063707919031</c:v>
                </c:pt>
                <c:pt idx="38">
                  <c:v>803.7135304851015</c:v>
                </c:pt>
                <c:pt idx="39">
                  <c:v>821.24498585752735</c:v>
                </c:pt>
                <c:pt idx="40">
                  <c:v>838.74141682099776</c:v>
                </c:pt>
                <c:pt idx="41">
                  <c:v>856.23078905689272</c:v>
                </c:pt>
                <c:pt idx="42">
                  <c:v>873.68593764720345</c:v>
                </c:pt>
                <c:pt idx="43">
                  <c:v>891.05342752969864</c:v>
                </c:pt>
                <c:pt idx="44">
                  <c:v>908.30470048114591</c:v>
                </c:pt>
                <c:pt idx="45">
                  <c:v>925.42422663894024</c:v>
                </c:pt>
                <c:pt idx="46">
                  <c:v>942.41315014215343</c:v>
                </c:pt>
                <c:pt idx="47">
                  <c:v>959.28916631944412</c:v>
                </c:pt>
                <c:pt idx="48">
                  <c:v>976.05825037112504</c:v>
                </c:pt>
                <c:pt idx="49">
                  <c:v>992.69733210400341</c:v>
                </c:pt>
                <c:pt idx="50">
                  <c:v>1009.1991224321343</c:v>
                </c:pt>
                <c:pt idx="51">
                  <c:v>1025.573262721914</c:v>
                </c:pt>
                <c:pt idx="52">
                  <c:v>1041.8218962802944</c:v>
                </c:pt>
                <c:pt idx="53">
                  <c:v>1057.9325380127425</c:v>
                </c:pt>
                <c:pt idx="54">
                  <c:v>1073.9085030640156</c:v>
                </c:pt>
                <c:pt idx="55">
                  <c:v>1089.7639174002695</c:v>
                </c:pt>
                <c:pt idx="56">
                  <c:v>1105.4981891085711</c:v>
                </c:pt>
                <c:pt idx="57">
                  <c:v>1121.1086121265412</c:v>
                </c:pt>
                <c:pt idx="58">
                  <c:v>1136.5965699739472</c:v>
                </c:pt>
                <c:pt idx="59">
                  <c:v>1151.9591073063666</c:v>
                </c:pt>
                <c:pt idx="60">
                  <c:v>1167.19800275020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682.60019570608915</c:v>
                </c:pt>
                <c:pt idx="32">
                  <c:v>700.40008485339263</c:v>
                </c:pt>
                <c:pt idx="33">
                  <c:v>718.35658468894292</c:v>
                </c:pt>
                <c:pt idx="34">
                  <c:v>736.59109061308641</c:v>
                </c:pt>
                <c:pt idx="35">
                  <c:v>755.20261798424485</c:v>
                </c:pt>
                <c:pt idx="36">
                  <c:v>774.19805161202294</c:v>
                </c:pt>
                <c:pt idx="37">
                  <c:v>793.6297552501394</c:v>
                </c:pt>
                <c:pt idx="38">
                  <c:v>813.62000606231436</c:v>
                </c:pt>
                <c:pt idx="39">
                  <c:v>834.05608667589331</c:v>
                </c:pt>
                <c:pt idx="40">
                  <c:v>854.89498541878993</c:v>
                </c:pt>
                <c:pt idx="41">
                  <c:v>876.19537903787398</c:v>
                </c:pt>
                <c:pt idx="42">
                  <c:v>897.9724933513686</c:v>
                </c:pt>
                <c:pt idx="43">
                  <c:v>920.19407885001544</c:v>
                </c:pt>
                <c:pt idx="44">
                  <c:v>942.83774608299836</c:v>
                </c:pt>
                <c:pt idx="45">
                  <c:v>965.88955757695157</c:v>
                </c:pt>
                <c:pt idx="46">
                  <c:v>989.34919592492179</c:v>
                </c:pt>
                <c:pt idx="47">
                  <c:v>1013.2474269052882</c:v>
                </c:pt>
                <c:pt idx="48">
                  <c:v>1037.6091630515334</c:v>
                </c:pt>
                <c:pt idx="49">
                  <c:v>1062.4250192157451</c:v>
                </c:pt>
                <c:pt idx="50">
                  <c:v>1087.6914048433443</c:v>
                </c:pt>
                <c:pt idx="51">
                  <c:v>1113.4197968397038</c:v>
                </c:pt>
                <c:pt idx="52">
                  <c:v>1139.6155695152734</c:v>
                </c:pt>
                <c:pt idx="53">
                  <c:v>1166.2761880766152</c:v>
                </c:pt>
                <c:pt idx="54">
                  <c:v>1193.4177621657257</c:v>
                </c:pt>
                <c:pt idx="55">
                  <c:v>1221.0647826332133</c:v>
                </c:pt>
                <c:pt idx="56">
                  <c:v>1249.2216766501392</c:v>
                </c:pt>
                <c:pt idx="57">
                  <c:v>1277.8900980699555</c:v>
                </c:pt>
                <c:pt idx="58">
                  <c:v>1307.0780917882762</c:v>
                </c:pt>
                <c:pt idx="59">
                  <c:v>1336.7939390156353</c:v>
                </c:pt>
                <c:pt idx="60">
                  <c:v>1367.0498579362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7</c:v>
                </c:pt>
                <c:pt idx="1">
                  <c:v>24</c:v>
                </c:pt>
                <c:pt idx="2">
                  <c:v>33</c:v>
                </c:pt>
                <c:pt idx="3">
                  <c:v>47</c:v>
                </c:pt>
                <c:pt idx="4">
                  <c:v>58</c:v>
                </c:pt>
                <c:pt idx="5">
                  <c:v>66</c:v>
                </c:pt>
                <c:pt idx="6">
                  <c:v>75</c:v>
                </c:pt>
                <c:pt idx="7">
                  <c:v>86</c:v>
                </c:pt>
                <c:pt idx="8">
                  <c:v>98</c:v>
                </c:pt>
                <c:pt idx="9">
                  <c:v>112</c:v>
                </c:pt>
                <c:pt idx="10">
                  <c:v>121</c:v>
                </c:pt>
                <c:pt idx="11">
                  <c:v>129</c:v>
                </c:pt>
                <c:pt idx="12">
                  <c:v>141</c:v>
                </c:pt>
                <c:pt idx="13">
                  <c:v>152</c:v>
                </c:pt>
                <c:pt idx="14">
                  <c:v>164</c:v>
                </c:pt>
                <c:pt idx="15">
                  <c:v>176</c:v>
                </c:pt>
                <c:pt idx="16">
                  <c:v>185</c:v>
                </c:pt>
                <c:pt idx="17">
                  <c:v>194</c:v>
                </c:pt>
                <c:pt idx="18">
                  <c:v>208</c:v>
                </c:pt>
                <c:pt idx="19">
                  <c:v>221</c:v>
                </c:pt>
                <c:pt idx="20">
                  <c:v>226</c:v>
                </c:pt>
                <c:pt idx="21">
                  <c:v>238</c:v>
                </c:pt>
                <c:pt idx="22">
                  <c:v>249</c:v>
                </c:pt>
                <c:pt idx="23">
                  <c:v>261</c:v>
                </c:pt>
                <c:pt idx="24">
                  <c:v>267</c:v>
                </c:pt>
                <c:pt idx="25">
                  <c:v>277</c:v>
                </c:pt>
                <c:pt idx="26">
                  <c:v>283</c:v>
                </c:pt>
                <c:pt idx="27">
                  <c:v>288</c:v>
                </c:pt>
                <c:pt idx="28">
                  <c:v>295</c:v>
                </c:pt>
                <c:pt idx="29">
                  <c:v>301</c:v>
                </c:pt>
                <c:pt idx="30">
                  <c:v>312</c:v>
                </c:pt>
                <c:pt idx="31">
                  <c:v>318</c:v>
                </c:pt>
                <c:pt idx="32">
                  <c:v>323</c:v>
                </c:pt>
                <c:pt idx="33">
                  <c:v>330</c:v>
                </c:pt>
                <c:pt idx="34">
                  <c:v>331</c:v>
                </c:pt>
                <c:pt idx="35">
                  <c:v>339</c:v>
                </c:pt>
                <c:pt idx="36">
                  <c:v>345</c:v>
                </c:pt>
                <c:pt idx="37">
                  <c:v>355</c:v>
                </c:pt>
                <c:pt idx="38">
                  <c:v>362</c:v>
                </c:pt>
                <c:pt idx="39">
                  <c:v>368</c:v>
                </c:pt>
                <c:pt idx="40">
                  <c:v>373</c:v>
                </c:pt>
                <c:pt idx="41">
                  <c:v>380</c:v>
                </c:pt>
                <c:pt idx="42">
                  <c:v>384</c:v>
                </c:pt>
                <c:pt idx="43">
                  <c:v>389</c:v>
                </c:pt>
                <c:pt idx="44">
                  <c:v>397</c:v>
                </c:pt>
                <c:pt idx="45">
                  <c:v>404</c:v>
                </c:pt>
                <c:pt idx="46">
                  <c:v>413</c:v>
                </c:pt>
                <c:pt idx="47">
                  <c:v>416</c:v>
                </c:pt>
                <c:pt idx="48">
                  <c:v>424</c:v>
                </c:pt>
                <c:pt idx="49">
                  <c:v>425</c:v>
                </c:pt>
                <c:pt idx="50">
                  <c:v>429</c:v>
                </c:pt>
                <c:pt idx="51">
                  <c:v>438</c:v>
                </c:pt>
                <c:pt idx="52">
                  <c:v>440</c:v>
                </c:pt>
                <c:pt idx="53">
                  <c:v>44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18.79495840771852</c:v>
                </c:pt>
                <c:pt idx="32">
                  <c:v>326.38456708665058</c:v>
                </c:pt>
                <c:pt idx="33">
                  <c:v>333.79383210832407</c:v>
                </c:pt>
                <c:pt idx="34">
                  <c:v>341.10524212755706</c:v>
                </c:pt>
                <c:pt idx="35">
                  <c:v>348.30629990687657</c:v>
                </c:pt>
                <c:pt idx="36">
                  <c:v>355.34202385153526</c:v>
                </c:pt>
                <c:pt idx="37">
                  <c:v>362.18724000536099</c:v>
                </c:pt>
                <c:pt idx="38">
                  <c:v>368.8575198586949</c:v>
                </c:pt>
                <c:pt idx="39">
                  <c:v>375.31655187658214</c:v>
                </c:pt>
                <c:pt idx="40">
                  <c:v>381.55652808679491</c:v>
                </c:pt>
                <c:pt idx="41">
                  <c:v>387.5903558963098</c:v>
                </c:pt>
                <c:pt idx="42">
                  <c:v>393.40224347892337</c:v>
                </c:pt>
                <c:pt idx="43">
                  <c:v>398.96978264633179</c:v>
                </c:pt>
                <c:pt idx="44">
                  <c:v>404.28677277268196</c:v>
                </c:pt>
                <c:pt idx="45">
                  <c:v>409.35666462425337</c:v>
                </c:pt>
                <c:pt idx="46">
                  <c:v>414.19416095316257</c:v>
                </c:pt>
                <c:pt idx="47">
                  <c:v>418.81679912146643</c:v>
                </c:pt>
                <c:pt idx="48">
                  <c:v>423.23379303324197</c:v>
                </c:pt>
                <c:pt idx="49">
                  <c:v>427.44142834151899</c:v>
                </c:pt>
                <c:pt idx="50">
                  <c:v>431.44631424953673</c:v>
                </c:pt>
                <c:pt idx="51">
                  <c:v>435.26264221435821</c:v>
                </c:pt>
                <c:pt idx="52">
                  <c:v>438.90037124750734</c:v>
                </c:pt>
                <c:pt idx="53">
                  <c:v>442.36301995890142</c:v>
                </c:pt>
                <c:pt idx="54">
                  <c:v>445.65939263588291</c:v>
                </c:pt>
                <c:pt idx="55">
                  <c:v>448.80200073950766</c:v>
                </c:pt>
                <c:pt idx="56">
                  <c:v>451.7977905667957</c:v>
                </c:pt>
                <c:pt idx="57">
                  <c:v>454.65324004388464</c:v>
                </c:pt>
                <c:pt idx="58">
                  <c:v>457.37529017449583</c:v>
                </c:pt>
                <c:pt idx="59">
                  <c:v>459.96883000077821</c:v>
                </c:pt>
                <c:pt idx="60">
                  <c:v>462.44042234899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318.87744039002803</c:v>
                </c:pt>
                <c:pt idx="32">
                  <c:v>326.62921631934159</c:v>
                </c:pt>
                <c:pt idx="33">
                  <c:v>334.27122942640699</c:v>
                </c:pt>
                <c:pt idx="34">
                  <c:v>341.88070418864834</c:v>
                </c:pt>
                <c:pt idx="35">
                  <c:v>349.45582367885373</c:v>
                </c:pt>
                <c:pt idx="36">
                  <c:v>356.95263552414883</c:v>
                </c:pt>
                <c:pt idx="37">
                  <c:v>364.3565745644292</c:v>
                </c:pt>
                <c:pt idx="38">
                  <c:v>371.69069240363751</c:v>
                </c:pt>
                <c:pt idx="39">
                  <c:v>378.91160028226346</c:v>
                </c:pt>
                <c:pt idx="40">
                  <c:v>386.00570128787496</c:v>
                </c:pt>
                <c:pt idx="41">
                  <c:v>392.98498481550121</c:v>
                </c:pt>
                <c:pt idx="42">
                  <c:v>399.83242295579475</c:v>
                </c:pt>
                <c:pt idx="43">
                  <c:v>406.5219846277011</c:v>
                </c:pt>
                <c:pt idx="44">
                  <c:v>413.04239114548136</c:v>
                </c:pt>
                <c:pt idx="45">
                  <c:v>419.39079827051239</c:v>
                </c:pt>
                <c:pt idx="46">
                  <c:v>425.57360727284561</c:v>
                </c:pt>
                <c:pt idx="47">
                  <c:v>431.60245962791055</c:v>
                </c:pt>
                <c:pt idx="48">
                  <c:v>437.4815076950938</c:v>
                </c:pt>
                <c:pt idx="49">
                  <c:v>443.20243524393982</c:v>
                </c:pt>
                <c:pt idx="50">
                  <c:v>448.76687751780702</c:v>
                </c:pt>
                <c:pt idx="51">
                  <c:v>454.18289071645927</c:v>
                </c:pt>
                <c:pt idx="52">
                  <c:v>459.45480615536906</c:v>
                </c:pt>
                <c:pt idx="53">
                  <c:v>464.58110410651159</c:v>
                </c:pt>
                <c:pt idx="54">
                  <c:v>469.56671824685861</c:v>
                </c:pt>
                <c:pt idx="55">
                  <c:v>474.42053891613955</c:v>
                </c:pt>
                <c:pt idx="56">
                  <c:v>479.14525448593423</c:v>
                </c:pt>
                <c:pt idx="57">
                  <c:v>483.74360193253881</c:v>
                </c:pt>
                <c:pt idx="58">
                  <c:v>488.2192021703633</c:v>
                </c:pt>
                <c:pt idx="59">
                  <c:v>492.57364579001182</c:v>
                </c:pt>
                <c:pt idx="60">
                  <c:v>496.810694391480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18.95992237233747</c:v>
                </c:pt>
                <c:pt idx="32">
                  <c:v>326.87412492933532</c:v>
                </c:pt>
                <c:pt idx="33">
                  <c:v>334.74950374774994</c:v>
                </c:pt>
                <c:pt idx="34">
                  <c:v>342.65757803580254</c:v>
                </c:pt>
                <c:pt idx="35">
                  <c:v>350.61150255594606</c:v>
                </c:pt>
                <c:pt idx="36">
                  <c:v>358.58203214306735</c:v>
                </c:pt>
                <c:pt idx="37">
                  <c:v>366.56905444933597</c:v>
                </c:pt>
                <c:pt idx="38">
                  <c:v>374.60621150230975</c:v>
                </c:pt>
                <c:pt idx="39">
                  <c:v>382.64435267736792</c:v>
                </c:pt>
                <c:pt idx="40">
                  <c:v>390.66561958032923</c:v>
                </c:pt>
                <c:pt idx="41">
                  <c:v>398.68512646724309</c:v>
                </c:pt>
                <c:pt idx="42">
                  <c:v>406.68985346019485</c:v>
                </c:pt>
                <c:pt idx="43">
                  <c:v>414.65500714980965</c:v>
                </c:pt>
                <c:pt idx="44">
                  <c:v>422.56607568232289</c:v>
                </c:pt>
                <c:pt idx="45">
                  <c:v>430.41613660091957</c:v>
                </c:pt>
                <c:pt idx="46">
                  <c:v>438.20597023984885</c:v>
                </c:pt>
                <c:pt idx="47">
                  <c:v>445.94397936350146</c:v>
                </c:pt>
                <c:pt idx="48">
                  <c:v>453.63261619298873</c:v>
                </c:pt>
                <c:pt idx="49">
                  <c:v>461.2617429521589</c:v>
                </c:pt>
                <c:pt idx="50">
                  <c:v>468.82874538960681</c:v>
                </c:pt>
                <c:pt idx="51">
                  <c:v>476.33707505389259</c:v>
                </c:pt>
                <c:pt idx="52">
                  <c:v>483.78691836293007</c:v>
                </c:pt>
                <c:pt idx="53">
                  <c:v>491.17334110130014</c:v>
                </c:pt>
                <c:pt idx="54">
                  <c:v>498.49853552827904</c:v>
                </c:pt>
                <c:pt idx="55">
                  <c:v>505.76848797768969</c:v>
                </c:pt>
                <c:pt idx="56">
                  <c:v>512.98257192049164</c:v>
                </c:pt>
                <c:pt idx="57">
                  <c:v>520.13989921833297</c:v>
                </c:pt>
                <c:pt idx="58">
                  <c:v>527.24105882051674</c:v>
                </c:pt>
                <c:pt idx="59">
                  <c:v>534.28463809699235</c:v>
                </c:pt>
                <c:pt idx="60">
                  <c:v>541.27154631368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19.08390472310452</c:v>
                </c:pt>
                <c:pt idx="32">
                  <c:v>327.24171640432877</c:v>
                </c:pt>
                <c:pt idx="33">
                  <c:v>335.46665326228293</c:v>
                </c:pt>
                <c:pt idx="34">
                  <c:v>343.82208090695423</c:v>
                </c:pt>
                <c:pt idx="35">
                  <c:v>352.35120952997113</c:v>
                </c:pt>
                <c:pt idx="36">
                  <c:v>361.05494777112335</c:v>
                </c:pt>
                <c:pt idx="37">
                  <c:v>369.96108359170353</c:v>
                </c:pt>
                <c:pt idx="38">
                  <c:v>379.12546583683843</c:v>
                </c:pt>
                <c:pt idx="39">
                  <c:v>388.49113003085472</c:v>
                </c:pt>
                <c:pt idx="40">
                  <c:v>398.04074900733383</c:v>
                </c:pt>
                <c:pt idx="41">
                  <c:v>407.80358939538087</c:v>
                </c:pt>
                <c:pt idx="42">
                  <c:v>417.78578356190371</c:v>
                </c:pt>
                <c:pt idx="43">
                  <c:v>427.97240920719008</c:v>
                </c:pt>
                <c:pt idx="44">
                  <c:v>438.35189609208635</c:v>
                </c:pt>
                <c:pt idx="45">
                  <c:v>448.91803006488908</c:v>
                </c:pt>
                <c:pt idx="46">
                  <c:v>459.6707949729481</c:v>
                </c:pt>
                <c:pt idx="47">
                  <c:v>470.62457309706878</c:v>
                </c:pt>
                <c:pt idx="48">
                  <c:v>481.79054106706332</c:v>
                </c:pt>
                <c:pt idx="49">
                  <c:v>493.16478579282654</c:v>
                </c:pt>
                <c:pt idx="50">
                  <c:v>504.74640944657511</c:v>
                </c:pt>
                <c:pt idx="51">
                  <c:v>516.53968666470575</c:v>
                </c:pt>
                <c:pt idx="52">
                  <c:v>528.54632073757523</c:v>
                </c:pt>
                <c:pt idx="53">
                  <c:v>540.76592091838393</c:v>
                </c:pt>
                <c:pt idx="54">
                  <c:v>553.20650294635084</c:v>
                </c:pt>
                <c:pt idx="55">
                  <c:v>565.87875810501146</c:v>
                </c:pt>
                <c:pt idx="56">
                  <c:v>578.78438897880119</c:v>
                </c:pt>
                <c:pt idx="57">
                  <c:v>591.9245553044866</c:v>
                </c:pt>
                <c:pt idx="58">
                  <c:v>605.30288694656201</c:v>
                </c:pt>
                <c:pt idx="59">
                  <c:v>618.92307593221801</c:v>
                </c:pt>
                <c:pt idx="60">
                  <c:v>632.79081336399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2</c:v>
                </c:pt>
                <c:pt idx="2">
                  <c:v>22</c:v>
                </c:pt>
                <c:pt idx="3">
                  <c:v>29</c:v>
                </c:pt>
                <c:pt idx="4">
                  <c:v>34</c:v>
                </c:pt>
                <c:pt idx="5">
                  <c:v>40</c:v>
                </c:pt>
                <c:pt idx="6">
                  <c:v>46</c:v>
                </c:pt>
                <c:pt idx="7">
                  <c:v>52</c:v>
                </c:pt>
                <c:pt idx="8">
                  <c:v>60</c:v>
                </c:pt>
                <c:pt idx="9">
                  <c:v>65</c:v>
                </c:pt>
                <c:pt idx="10">
                  <c:v>73</c:v>
                </c:pt>
                <c:pt idx="11">
                  <c:v>82</c:v>
                </c:pt>
                <c:pt idx="12">
                  <c:v>88</c:v>
                </c:pt>
                <c:pt idx="13">
                  <c:v>92</c:v>
                </c:pt>
                <c:pt idx="14">
                  <c:v>97</c:v>
                </c:pt>
                <c:pt idx="15">
                  <c:v>103</c:v>
                </c:pt>
                <c:pt idx="16">
                  <c:v>111</c:v>
                </c:pt>
                <c:pt idx="17">
                  <c:v>116</c:v>
                </c:pt>
                <c:pt idx="18">
                  <c:v>120</c:v>
                </c:pt>
                <c:pt idx="19">
                  <c:v>126</c:v>
                </c:pt>
                <c:pt idx="20">
                  <c:v>131</c:v>
                </c:pt>
                <c:pt idx="21">
                  <c:v>140</c:v>
                </c:pt>
                <c:pt idx="22">
                  <c:v>147</c:v>
                </c:pt>
                <c:pt idx="23">
                  <c:v>158</c:v>
                </c:pt>
                <c:pt idx="24">
                  <c:v>162</c:v>
                </c:pt>
                <c:pt idx="25">
                  <c:v>169</c:v>
                </c:pt>
                <c:pt idx="26">
                  <c:v>174</c:v>
                </c:pt>
                <c:pt idx="27">
                  <c:v>181</c:v>
                </c:pt>
                <c:pt idx="28">
                  <c:v>189</c:v>
                </c:pt>
                <c:pt idx="29">
                  <c:v>194</c:v>
                </c:pt>
                <c:pt idx="30">
                  <c:v>197</c:v>
                </c:pt>
                <c:pt idx="31">
                  <c:v>200</c:v>
                </c:pt>
                <c:pt idx="32">
                  <c:v>207</c:v>
                </c:pt>
                <c:pt idx="33">
                  <c:v>208</c:v>
                </c:pt>
                <c:pt idx="34">
                  <c:v>214</c:v>
                </c:pt>
                <c:pt idx="35">
                  <c:v>220</c:v>
                </c:pt>
                <c:pt idx="36">
                  <c:v>228</c:v>
                </c:pt>
                <c:pt idx="37">
                  <c:v>233</c:v>
                </c:pt>
                <c:pt idx="38">
                  <c:v>241</c:v>
                </c:pt>
                <c:pt idx="39">
                  <c:v>249</c:v>
                </c:pt>
                <c:pt idx="40">
                  <c:v>250</c:v>
                </c:pt>
                <c:pt idx="41">
                  <c:v>259</c:v>
                </c:pt>
                <c:pt idx="42">
                  <c:v>261</c:v>
                </c:pt>
                <c:pt idx="43">
                  <c:v>267</c:v>
                </c:pt>
                <c:pt idx="44">
                  <c:v>278</c:v>
                </c:pt>
                <c:pt idx="45">
                  <c:v>284</c:v>
                </c:pt>
                <c:pt idx="46">
                  <c:v>288</c:v>
                </c:pt>
                <c:pt idx="47">
                  <c:v>289</c:v>
                </c:pt>
                <c:pt idx="48">
                  <c:v>292</c:v>
                </c:pt>
                <c:pt idx="49">
                  <c:v>299</c:v>
                </c:pt>
                <c:pt idx="50">
                  <c:v>305</c:v>
                </c:pt>
                <c:pt idx="51">
                  <c:v>309</c:v>
                </c:pt>
                <c:pt idx="52">
                  <c:v>316</c:v>
                </c:pt>
                <c:pt idx="53">
                  <c:v>32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00.73857957947652</c:v>
                </c:pt>
                <c:pt idx="32">
                  <c:v>206.3554728789868</c:v>
                </c:pt>
                <c:pt idx="33">
                  <c:v>211.84649397991066</c:v>
                </c:pt>
                <c:pt idx="34">
                  <c:v>217.25609022539066</c:v>
                </c:pt>
                <c:pt idx="35">
                  <c:v>222.57868082370524</c:v>
                </c:pt>
                <c:pt idx="36">
                  <c:v>227.78028511809032</c:v>
                </c:pt>
                <c:pt idx="37">
                  <c:v>232.83656844065413</c:v>
                </c:pt>
                <c:pt idx="38">
                  <c:v>237.75934932044424</c:v>
                </c:pt>
                <c:pt idx="39">
                  <c:v>242.53178002739887</c:v>
                </c:pt>
                <c:pt idx="40">
                  <c:v>247.14450646951178</c:v>
                </c:pt>
                <c:pt idx="41">
                  <c:v>251.60274227168492</c:v>
                </c:pt>
                <c:pt idx="42">
                  <c:v>255.89514361956662</c:v>
                </c:pt>
                <c:pt idx="43">
                  <c:v>260.00606997917191</c:v>
                </c:pt>
                <c:pt idx="44">
                  <c:v>263.93398125497265</c:v>
                </c:pt>
                <c:pt idx="45">
                  <c:v>267.68097401509971</c:v>
                </c:pt>
                <c:pt idx="46">
                  <c:v>271.25709294591587</c:v>
                </c:pt>
                <c:pt idx="47">
                  <c:v>274.67463728432341</c:v>
                </c:pt>
                <c:pt idx="48">
                  <c:v>277.9410825221949</c:v>
                </c:pt>
                <c:pt idx="49">
                  <c:v>281.05265232825946</c:v>
                </c:pt>
                <c:pt idx="50">
                  <c:v>284.01278769049765</c:v>
                </c:pt>
                <c:pt idx="51">
                  <c:v>286.83387492735955</c:v>
                </c:pt>
                <c:pt idx="52">
                  <c:v>289.52495451287615</c:v>
                </c:pt>
                <c:pt idx="53">
                  <c:v>292.08701649544901</c:v>
                </c:pt>
                <c:pt idx="54">
                  <c:v>294.52511678491265</c:v>
                </c:pt>
                <c:pt idx="55">
                  <c:v>296.84934289581258</c:v>
                </c:pt>
                <c:pt idx="56">
                  <c:v>299.06559923890808</c:v>
                </c:pt>
                <c:pt idx="57">
                  <c:v>301.17809486074106</c:v>
                </c:pt>
                <c:pt idx="58">
                  <c:v>303.19202113541138</c:v>
                </c:pt>
                <c:pt idx="59">
                  <c:v>305.11100916828798</c:v>
                </c:pt>
                <c:pt idx="60">
                  <c:v>306.939733945617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00.80059270855548</c:v>
                </c:pt>
                <c:pt idx="32">
                  <c:v>206.53982491502046</c:v>
                </c:pt>
                <c:pt idx="33">
                  <c:v>212.20590452996868</c:v>
                </c:pt>
                <c:pt idx="34">
                  <c:v>217.83976377021818</c:v>
                </c:pt>
                <c:pt idx="35">
                  <c:v>223.44385978992594</c:v>
                </c:pt>
                <c:pt idx="36">
                  <c:v>228.9916458294297</c:v>
                </c:pt>
                <c:pt idx="37">
                  <c:v>234.46609905573581</c:v>
                </c:pt>
                <c:pt idx="38">
                  <c:v>239.88456007688166</c:v>
                </c:pt>
                <c:pt idx="39">
                  <c:v>245.22504998766394</c:v>
                </c:pt>
                <c:pt idx="40">
                  <c:v>250.47362199841893</c:v>
                </c:pt>
                <c:pt idx="41">
                  <c:v>255.63471427643375</c:v>
                </c:pt>
                <c:pt idx="42">
                  <c:v>260.69646002971814</c:v>
                </c:pt>
                <c:pt idx="43">
                  <c:v>265.64036171095199</c:v>
                </c:pt>
                <c:pt idx="44">
                  <c:v>270.46101798720554</c:v>
                </c:pt>
                <c:pt idx="45">
                  <c:v>275.15590920158678</c:v>
                </c:pt>
                <c:pt idx="46">
                  <c:v>279.72909078076543</c:v>
                </c:pt>
                <c:pt idx="47">
                  <c:v>284.18856692405984</c:v>
                </c:pt>
                <c:pt idx="48">
                  <c:v>288.53803844072701</c:v>
                </c:pt>
                <c:pt idx="49">
                  <c:v>292.77039897982667</c:v>
                </c:pt>
                <c:pt idx="50">
                  <c:v>296.88542314713368</c:v>
                </c:pt>
                <c:pt idx="51">
                  <c:v>300.89098320911353</c:v>
                </c:pt>
                <c:pt idx="52">
                  <c:v>304.79190470894849</c:v>
                </c:pt>
                <c:pt idx="53">
                  <c:v>308.58547310806989</c:v>
                </c:pt>
                <c:pt idx="54">
                  <c:v>312.27394651222534</c:v>
                </c:pt>
                <c:pt idx="55">
                  <c:v>315.86481148718644</c:v>
                </c:pt>
                <c:pt idx="56">
                  <c:v>319.36078998480514</c:v>
                </c:pt>
                <c:pt idx="57">
                  <c:v>322.76326627653901</c:v>
                </c:pt>
                <c:pt idx="58">
                  <c:v>326.07499949255032</c:v>
                </c:pt>
                <c:pt idx="59">
                  <c:v>329.29722565862812</c:v>
                </c:pt>
                <c:pt idx="60">
                  <c:v>332.43254394557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00.86260583763436</c:v>
                </c:pt>
                <c:pt idx="32">
                  <c:v>206.72437196089385</c:v>
                </c:pt>
                <c:pt idx="33">
                  <c:v>212.56597575089114</c:v>
                </c:pt>
                <c:pt idx="34">
                  <c:v>218.42450081703683</c:v>
                </c:pt>
                <c:pt idx="35">
                  <c:v>224.31366702366668</c:v>
                </c:pt>
                <c:pt idx="36">
                  <c:v>230.21715281718224</c:v>
                </c:pt>
                <c:pt idx="37">
                  <c:v>236.12811155614992</c:v>
                </c:pt>
                <c:pt idx="38">
                  <c:v>242.07175162986994</c:v>
                </c:pt>
                <c:pt idx="39">
                  <c:v>248.02195508449589</c:v>
                </c:pt>
                <c:pt idx="40">
                  <c:v>253.96128535462412</c:v>
                </c:pt>
                <c:pt idx="41">
                  <c:v>259.89638415602928</c:v>
                </c:pt>
                <c:pt idx="42">
                  <c:v>265.81873394856439</c:v>
                </c:pt>
                <c:pt idx="43">
                  <c:v>271.71056375569225</c:v>
                </c:pt>
                <c:pt idx="44">
                  <c:v>277.56394393530218</c:v>
                </c:pt>
                <c:pt idx="45">
                  <c:v>283.37335749087526</c:v>
                </c:pt>
                <c:pt idx="46">
                  <c:v>289.13887475211624</c:v>
                </c:pt>
                <c:pt idx="47">
                  <c:v>294.86614159789042</c:v>
                </c:pt>
                <c:pt idx="48">
                  <c:v>300.55754336535892</c:v>
                </c:pt>
                <c:pt idx="49">
                  <c:v>306.20470307305402</c:v>
                </c:pt>
                <c:pt idx="50">
                  <c:v>311.80424188387099</c:v>
                </c:pt>
                <c:pt idx="51">
                  <c:v>317.36063693007475</c:v>
                </c:pt>
                <c:pt idx="52">
                  <c:v>322.87560573859258</c:v>
                </c:pt>
                <c:pt idx="53">
                  <c:v>328.34392835596941</c:v>
                </c:pt>
                <c:pt idx="54">
                  <c:v>333.76589405806783</c:v>
                </c:pt>
                <c:pt idx="55">
                  <c:v>339.14690696985133</c:v>
                </c:pt>
                <c:pt idx="56">
                  <c:v>344.48720776706125</c:v>
                </c:pt>
                <c:pt idx="57">
                  <c:v>349.78543960852897</c:v>
                </c:pt>
                <c:pt idx="58">
                  <c:v>355.04212850266128</c:v>
                </c:pt>
                <c:pt idx="59">
                  <c:v>360.25634303196222</c:v>
                </c:pt>
                <c:pt idx="60">
                  <c:v>365.42857027457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00.95582054109263</c:v>
                </c:pt>
                <c:pt idx="32">
                  <c:v>207.0013656759688</c:v>
                </c:pt>
                <c:pt idx="33">
                  <c:v>213.10588442678454</c:v>
                </c:pt>
                <c:pt idx="34">
                  <c:v>219.30099704473841</c:v>
                </c:pt>
                <c:pt idx="35">
                  <c:v>225.62303023277525</c:v>
                </c:pt>
                <c:pt idx="36">
                  <c:v>232.07711586824297</c:v>
                </c:pt>
                <c:pt idx="37">
                  <c:v>238.6763272141944</c:v>
                </c:pt>
                <c:pt idx="38">
                  <c:v>245.46243268043941</c:v>
                </c:pt>
                <c:pt idx="39">
                  <c:v>252.40374554206346</c:v>
                </c:pt>
                <c:pt idx="40">
                  <c:v>259.48269140183015</c:v>
                </c:pt>
                <c:pt idx="41">
                  <c:v>266.7162465768879</c:v>
                </c:pt>
                <c:pt idx="42">
                  <c:v>274.11063392146383</c:v>
                </c:pt>
                <c:pt idx="43">
                  <c:v>281.65507694784037</c:v>
                </c:pt>
                <c:pt idx="44">
                  <c:v>289.34359890022216</c:v>
                </c:pt>
                <c:pt idx="45">
                  <c:v>297.1712503503494</c:v>
                </c:pt>
                <c:pt idx="46">
                  <c:v>305.13776270378992</c:v>
                </c:pt>
                <c:pt idx="47">
                  <c:v>313.25323445975391</c:v>
                </c:pt>
                <c:pt idx="48">
                  <c:v>321.52642649801334</c:v>
                </c:pt>
                <c:pt idx="49">
                  <c:v>329.95366858642922</c:v>
                </c:pt>
                <c:pt idx="50">
                  <c:v>338.53281149500333</c:v>
                </c:pt>
                <c:pt idx="51">
                  <c:v>347.26897834774547</c:v>
                </c:pt>
                <c:pt idx="52">
                  <c:v>356.16493918512094</c:v>
                </c:pt>
                <c:pt idx="53">
                  <c:v>365.21887448599296</c:v>
                </c:pt>
                <c:pt idx="54">
                  <c:v>374.43546918346061</c:v>
                </c:pt>
                <c:pt idx="55">
                  <c:v>383.82370411151993</c:v>
                </c:pt>
                <c:pt idx="56">
                  <c:v>393.38548877490962</c:v>
                </c:pt>
                <c:pt idx="57">
                  <c:v>403.12088534133068</c:v>
                </c:pt>
                <c:pt idx="58">
                  <c:v>413.03269725474422</c:v>
                </c:pt>
                <c:pt idx="59">
                  <c:v>423.12386559315604</c:v>
                </c:pt>
                <c:pt idx="60">
                  <c:v>433.398426458668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46</c:v>
                </c:pt>
                <c:pt idx="1">
                  <c:v>147</c:v>
                </c:pt>
                <c:pt idx="2">
                  <c:v>154</c:v>
                </c:pt>
                <c:pt idx="3">
                  <c:v>152</c:v>
                </c:pt>
                <c:pt idx="4">
                  <c:v>167</c:v>
                </c:pt>
                <c:pt idx="5">
                  <c:v>167</c:v>
                </c:pt>
                <c:pt idx="6">
                  <c:v>163</c:v>
                </c:pt>
                <c:pt idx="7">
                  <c:v>171</c:v>
                </c:pt>
                <c:pt idx="8">
                  <c:v>175</c:v>
                </c:pt>
                <c:pt idx="9">
                  <c:v>192</c:v>
                </c:pt>
                <c:pt idx="10">
                  <c:v>194</c:v>
                </c:pt>
                <c:pt idx="11">
                  <c:v>194</c:v>
                </c:pt>
                <c:pt idx="12">
                  <c:v>179</c:v>
                </c:pt>
                <c:pt idx="13">
                  <c:v>196</c:v>
                </c:pt>
                <c:pt idx="14">
                  <c:v>210</c:v>
                </c:pt>
                <c:pt idx="15">
                  <c:v>194</c:v>
                </c:pt>
                <c:pt idx="16">
                  <c:v>187</c:v>
                </c:pt>
                <c:pt idx="17">
                  <c:v>188</c:v>
                </c:pt>
                <c:pt idx="18">
                  <c:v>177</c:v>
                </c:pt>
                <c:pt idx="19">
                  <c:v>177</c:v>
                </c:pt>
                <c:pt idx="20">
                  <c:v>183</c:v>
                </c:pt>
                <c:pt idx="21">
                  <c:v>175</c:v>
                </c:pt>
                <c:pt idx="22">
                  <c:v>179</c:v>
                </c:pt>
                <c:pt idx="23">
                  <c:v>176</c:v>
                </c:pt>
                <c:pt idx="24">
                  <c:v>170</c:v>
                </c:pt>
                <c:pt idx="25">
                  <c:v>156</c:v>
                </c:pt>
                <c:pt idx="26">
                  <c:v>163</c:v>
                </c:pt>
                <c:pt idx="27">
                  <c:v>164</c:v>
                </c:pt>
                <c:pt idx="28">
                  <c:v>164</c:v>
                </c:pt>
                <c:pt idx="29">
                  <c:v>158</c:v>
                </c:pt>
                <c:pt idx="30">
                  <c:v>158</c:v>
                </c:pt>
                <c:pt idx="31">
                  <c:v>155</c:v>
                </c:pt>
                <c:pt idx="32">
                  <c:v>153</c:v>
                </c:pt>
                <c:pt idx="33">
                  <c:v>147</c:v>
                </c:pt>
                <c:pt idx="34">
                  <c:v>146</c:v>
                </c:pt>
                <c:pt idx="35">
                  <c:v>137</c:v>
                </c:pt>
                <c:pt idx="36">
                  <c:v>135</c:v>
                </c:pt>
                <c:pt idx="37">
                  <c:v>135</c:v>
                </c:pt>
                <c:pt idx="38">
                  <c:v>130</c:v>
                </c:pt>
                <c:pt idx="39">
                  <c:v>124</c:v>
                </c:pt>
                <c:pt idx="40">
                  <c:v>120</c:v>
                </c:pt>
                <c:pt idx="41">
                  <c:v>119</c:v>
                </c:pt>
                <c:pt idx="42">
                  <c:v>121</c:v>
                </c:pt>
                <c:pt idx="43">
                  <c:v>119</c:v>
                </c:pt>
                <c:pt idx="44">
                  <c:v>110</c:v>
                </c:pt>
                <c:pt idx="45">
                  <c:v>106</c:v>
                </c:pt>
                <c:pt idx="46">
                  <c:v>103</c:v>
                </c:pt>
                <c:pt idx="47">
                  <c:v>96</c:v>
                </c:pt>
                <c:pt idx="48">
                  <c:v>97</c:v>
                </c:pt>
                <c:pt idx="49">
                  <c:v>94</c:v>
                </c:pt>
                <c:pt idx="50">
                  <c:v>88</c:v>
                </c:pt>
                <c:pt idx="51">
                  <c:v>83</c:v>
                </c:pt>
                <c:pt idx="52">
                  <c:v>75</c:v>
                </c:pt>
                <c:pt idx="53">
                  <c:v>7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40.5811951019997</c:v>
                </c:pt>
                <c:pt idx="32">
                  <c:v>137.48265146605047</c:v>
                </c:pt>
                <c:pt idx="33">
                  <c:v>134.4183997837668</c:v>
                </c:pt>
                <c:pt idx="34">
                  <c:v>131.47838461994087</c:v>
                </c:pt>
                <c:pt idx="35">
                  <c:v>128.63291535605714</c:v>
                </c:pt>
                <c:pt idx="36">
                  <c:v>125.83112249332547</c:v>
                </c:pt>
                <c:pt idx="37">
                  <c:v>123.04630502378367</c:v>
                </c:pt>
                <c:pt idx="38">
                  <c:v>120.30766441522408</c:v>
                </c:pt>
                <c:pt idx="39">
                  <c:v>117.54100582756907</c:v>
                </c:pt>
                <c:pt idx="40">
                  <c:v>114.72021087429628</c:v>
                </c:pt>
                <c:pt idx="41">
                  <c:v>111.88099730208252</c:v>
                </c:pt>
                <c:pt idx="42">
                  <c:v>108.98272980983258</c:v>
                </c:pt>
                <c:pt idx="43">
                  <c:v>106.01006516082525</c:v>
                </c:pt>
                <c:pt idx="44">
                  <c:v>102.97102613838145</c:v>
                </c:pt>
                <c:pt idx="45">
                  <c:v>99.887121862844964</c:v>
                </c:pt>
                <c:pt idx="46">
                  <c:v>96.785605581050191</c:v>
                </c:pt>
                <c:pt idx="47">
                  <c:v>93.677488420746471</c:v>
                </c:pt>
                <c:pt idx="48">
                  <c:v>90.561529062760144</c:v>
                </c:pt>
                <c:pt idx="49">
                  <c:v>87.438090334472889</c:v>
                </c:pt>
                <c:pt idx="50">
                  <c:v>84.330135517371531</c:v>
                </c:pt>
                <c:pt idx="51">
                  <c:v>81.252825720928854</c:v>
                </c:pt>
                <c:pt idx="52">
                  <c:v>78.2320906369971</c:v>
                </c:pt>
                <c:pt idx="53">
                  <c:v>75.248847450550372</c:v>
                </c:pt>
                <c:pt idx="54">
                  <c:v>72.313382533940043</c:v>
                </c:pt>
                <c:pt idx="55">
                  <c:v>69.438527352429844</c:v>
                </c:pt>
                <c:pt idx="56">
                  <c:v>66.636076796790377</c:v>
                </c:pt>
                <c:pt idx="57">
                  <c:v>63.915692092763912</c:v>
                </c:pt>
                <c:pt idx="58">
                  <c:v>61.276154788707188</c:v>
                </c:pt>
                <c:pt idx="59">
                  <c:v>58.72352209431898</c:v>
                </c:pt>
                <c:pt idx="60">
                  <c:v>56.254258876663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40.70298664612136</c:v>
                </c:pt>
                <c:pt idx="32">
                  <c:v>137.83467193777534</c:v>
                </c:pt>
                <c:pt idx="33">
                  <c:v>135.08639997758289</c:v>
                </c:pt>
                <c:pt idx="34">
                  <c:v>132.5328065900481</c:v>
                </c:pt>
                <c:pt idx="35">
                  <c:v>130.15382521998723</c:v>
                </c:pt>
                <c:pt idx="36">
                  <c:v>127.90819479593107</c:v>
                </c:pt>
                <c:pt idx="37">
                  <c:v>125.77657529220673</c:v>
                </c:pt>
                <c:pt idx="38">
                  <c:v>123.79010276669889</c:v>
                </c:pt>
                <c:pt idx="39">
                  <c:v>121.85596968677825</c:v>
                </c:pt>
                <c:pt idx="40">
                  <c:v>119.93177829580088</c:v>
                </c:pt>
                <c:pt idx="41">
                  <c:v>118.04569742083609</c:v>
                </c:pt>
                <c:pt idx="42">
                  <c:v>116.14969172153346</c:v>
                </c:pt>
                <c:pt idx="43">
                  <c:v>114.21779142385515</c:v>
                </c:pt>
                <c:pt idx="44">
                  <c:v>112.24613177796081</c:v>
                </c:pt>
                <c:pt idx="45">
                  <c:v>110.24356919519444</c:v>
                </c:pt>
                <c:pt idx="46">
                  <c:v>108.22253931169919</c:v>
                </c:pt>
                <c:pt idx="47">
                  <c:v>106.1842492914927</c:v>
                </c:pt>
                <c:pt idx="48">
                  <c:v>104.11978907872729</c:v>
                </c:pt>
                <c:pt idx="49">
                  <c:v>102.0233702050042</c:v>
                </c:pt>
                <c:pt idx="50">
                  <c:v>99.911590132509701</c:v>
                </c:pt>
                <c:pt idx="51">
                  <c:v>97.791990945605662</c:v>
                </c:pt>
                <c:pt idx="52">
                  <c:v>95.684265508371254</c:v>
                </c:pt>
                <c:pt idx="53">
                  <c:v>93.564944077861426</c:v>
                </c:pt>
                <c:pt idx="54">
                  <c:v>91.442468920426279</c:v>
                </c:pt>
                <c:pt idx="55">
                  <c:v>89.328536491682314</c:v>
                </c:pt>
                <c:pt idx="56">
                  <c:v>87.233036903319572</c:v>
                </c:pt>
                <c:pt idx="57">
                  <c:v>85.164679691021689</c:v>
                </c:pt>
                <c:pt idx="58">
                  <c:v>83.122184681347647</c:v>
                </c:pt>
                <c:pt idx="59">
                  <c:v>81.111792996164183</c:v>
                </c:pt>
                <c:pt idx="60">
                  <c:v>79.13105833820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40.82477819024305</c:v>
                </c:pt>
                <c:pt idx="32">
                  <c:v>138.18707540177735</c:v>
                </c:pt>
                <c:pt idx="33">
                  <c:v>135.75566613194079</c:v>
                </c:pt>
                <c:pt idx="34">
                  <c:v>133.58918504845494</c:v>
                </c:pt>
                <c:pt idx="35">
                  <c:v>131.68353619776923</c:v>
                </c:pt>
                <c:pt idx="36">
                  <c:v>130.01203286982906</c:v>
                </c:pt>
                <c:pt idx="37">
                  <c:v>128.56747819542505</c:v>
                </c:pt>
                <c:pt idx="38">
                  <c:v>127.38622828001941</c:v>
                </c:pt>
                <c:pt idx="39">
                  <c:v>126.3572030937313</c:v>
                </c:pt>
                <c:pt idx="40">
                  <c:v>125.42233155554675</c:v>
                </c:pt>
                <c:pt idx="41">
                  <c:v>124.60646090200186</c:v>
                </c:pt>
                <c:pt idx="42">
                  <c:v>123.85978204754991</c:v>
                </c:pt>
                <c:pt idx="43">
                  <c:v>123.15031291992928</c:v>
                </c:pt>
                <c:pt idx="44">
                  <c:v>122.4620154522778</c:v>
                </c:pt>
                <c:pt idx="45">
                  <c:v>121.79133748367566</c:v>
                </c:pt>
                <c:pt idx="46">
                  <c:v>121.1367998087261</c:v>
                </c:pt>
                <c:pt idx="47">
                  <c:v>120.49053599316071</c:v>
                </c:pt>
                <c:pt idx="48">
                  <c:v>119.83762116880101</c:v>
                </c:pt>
                <c:pt idx="49">
                  <c:v>119.16674306489099</c:v>
                </c:pt>
                <c:pt idx="50">
                  <c:v>118.48562578429852</c:v>
                </c:pt>
                <c:pt idx="51">
                  <c:v>117.79304518620648</c:v>
                </c:pt>
                <c:pt idx="52">
                  <c:v>117.10128997044761</c:v>
                </c:pt>
                <c:pt idx="53">
                  <c:v>116.38163230433621</c:v>
                </c:pt>
                <c:pt idx="54">
                  <c:v>115.63911085042898</c:v>
                </c:pt>
                <c:pt idx="55">
                  <c:v>114.88219630504128</c:v>
                </c:pt>
                <c:pt idx="56">
                  <c:v>114.11726749985074</c:v>
                </c:pt>
                <c:pt idx="57">
                  <c:v>113.34936957274564</c:v>
                </c:pt>
                <c:pt idx="58">
                  <c:v>112.57490743812292</c:v>
                </c:pt>
                <c:pt idx="59">
                  <c:v>111.79830000174894</c:v>
                </c:pt>
                <c:pt idx="60">
                  <c:v>111.01585837916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41.00784849870269</c:v>
                </c:pt>
                <c:pt idx="32">
                  <c:v>138.71598907762936</c:v>
                </c:pt>
                <c:pt idx="33">
                  <c:v>136.75912293497686</c:v>
                </c:pt>
                <c:pt idx="34">
                  <c:v>135.17253470470962</c:v>
                </c:pt>
                <c:pt idx="35">
                  <c:v>133.98731139557236</c:v>
                </c:pt>
                <c:pt idx="36">
                  <c:v>133.20973030216507</c:v>
                </c:pt>
                <c:pt idx="37">
                  <c:v>132.85820824622996</c:v>
                </c:pt>
                <c:pt idx="38">
                  <c:v>132.9838174230818</c:v>
                </c:pt>
                <c:pt idx="39">
                  <c:v>133.4462586582398</c:v>
                </c:pt>
                <c:pt idx="40">
                  <c:v>134.17120360776764</c:v>
                </c:pt>
                <c:pt idx="41">
                  <c:v>135.18891641096306</c:v>
                </c:pt>
                <c:pt idx="42">
                  <c:v>136.46181875967653</c:v>
                </c:pt>
                <c:pt idx="43">
                  <c:v>137.95502540622113</c:v>
                </c:pt>
                <c:pt idx="44">
                  <c:v>139.63936690444663</c:v>
                </c:pt>
                <c:pt idx="45">
                  <c:v>141.49592174333628</c:v>
                </c:pt>
                <c:pt idx="46">
                  <c:v>143.5064533899419</c:v>
                </c:pt>
                <c:pt idx="47">
                  <c:v>145.65781014186922</c:v>
                </c:pt>
                <c:pt idx="48">
                  <c:v>147.93427416161288</c:v>
                </c:pt>
                <c:pt idx="49">
                  <c:v>150.3202652410852</c:v>
                </c:pt>
                <c:pt idx="50">
                  <c:v>152.81248149483639</c:v>
                </c:pt>
                <c:pt idx="51">
                  <c:v>155.39798275250669</c:v>
                </c:pt>
                <c:pt idx="52">
                  <c:v>158.07919950623142</c:v>
                </c:pt>
                <c:pt idx="53">
                  <c:v>160.82339130492281</c:v>
                </c:pt>
                <c:pt idx="54">
                  <c:v>163.63434431681117</c:v>
                </c:pt>
                <c:pt idx="55">
                  <c:v>166.51781593471662</c:v>
                </c:pt>
                <c:pt idx="56">
                  <c:v>169.47412651398611</c:v>
                </c:pt>
                <c:pt idx="57">
                  <c:v>172.50223095611534</c:v>
                </c:pt>
                <c:pt idx="58">
                  <c:v>175.59466683783643</c:v>
                </c:pt>
                <c:pt idx="59">
                  <c:v>178.75569455477103</c:v>
                </c:pt>
                <c:pt idx="60">
                  <c:v>181.98128850515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4</c:v>
                </c:pt>
                <c:pt idx="1">
                  <c:v>104</c:v>
                </c:pt>
                <c:pt idx="2">
                  <c:v>104</c:v>
                </c:pt>
                <c:pt idx="3">
                  <c:v>104</c:v>
                </c:pt>
                <c:pt idx="4">
                  <c:v>104</c:v>
                </c:pt>
                <c:pt idx="5">
                  <c:v>104</c:v>
                </c:pt>
                <c:pt idx="6">
                  <c:v>104</c:v>
                </c:pt>
                <c:pt idx="7">
                  <c:v>104</c:v>
                </c:pt>
                <c:pt idx="8">
                  <c:v>104</c:v>
                </c:pt>
                <c:pt idx="9">
                  <c:v>104</c:v>
                </c:pt>
                <c:pt idx="10">
                  <c:v>104</c:v>
                </c:pt>
                <c:pt idx="11">
                  <c:v>104</c:v>
                </c:pt>
                <c:pt idx="12">
                  <c:v>104</c:v>
                </c:pt>
                <c:pt idx="13">
                  <c:v>104</c:v>
                </c:pt>
                <c:pt idx="14">
                  <c:v>104</c:v>
                </c:pt>
                <c:pt idx="15">
                  <c:v>104</c:v>
                </c:pt>
                <c:pt idx="16">
                  <c:v>104</c:v>
                </c:pt>
                <c:pt idx="17">
                  <c:v>104</c:v>
                </c:pt>
                <c:pt idx="18">
                  <c:v>104</c:v>
                </c:pt>
                <c:pt idx="19">
                  <c:v>104</c:v>
                </c:pt>
                <c:pt idx="20">
                  <c:v>104</c:v>
                </c:pt>
                <c:pt idx="21">
                  <c:v>104</c:v>
                </c:pt>
                <c:pt idx="22">
                  <c:v>104</c:v>
                </c:pt>
                <c:pt idx="23">
                  <c:v>104</c:v>
                </c:pt>
                <c:pt idx="24">
                  <c:v>104</c:v>
                </c:pt>
                <c:pt idx="25">
                  <c:v>104</c:v>
                </c:pt>
                <c:pt idx="26">
                  <c:v>104</c:v>
                </c:pt>
                <c:pt idx="27">
                  <c:v>104</c:v>
                </c:pt>
                <c:pt idx="28">
                  <c:v>104</c:v>
                </c:pt>
                <c:pt idx="29">
                  <c:v>104</c:v>
                </c:pt>
                <c:pt idx="30">
                  <c:v>104</c:v>
                </c:pt>
                <c:pt idx="31">
                  <c:v>104</c:v>
                </c:pt>
                <c:pt idx="32">
                  <c:v>104</c:v>
                </c:pt>
                <c:pt idx="33">
                  <c:v>104</c:v>
                </c:pt>
                <c:pt idx="34">
                  <c:v>104</c:v>
                </c:pt>
                <c:pt idx="35">
                  <c:v>104</c:v>
                </c:pt>
                <c:pt idx="36">
                  <c:v>104</c:v>
                </c:pt>
                <c:pt idx="37">
                  <c:v>104</c:v>
                </c:pt>
                <c:pt idx="38">
                  <c:v>104</c:v>
                </c:pt>
                <c:pt idx="39">
                  <c:v>104</c:v>
                </c:pt>
                <c:pt idx="40">
                  <c:v>104</c:v>
                </c:pt>
                <c:pt idx="41">
                  <c:v>104</c:v>
                </c:pt>
                <c:pt idx="42">
                  <c:v>104</c:v>
                </c:pt>
                <c:pt idx="43">
                  <c:v>104</c:v>
                </c:pt>
                <c:pt idx="44">
                  <c:v>104</c:v>
                </c:pt>
                <c:pt idx="45">
                  <c:v>104</c:v>
                </c:pt>
                <c:pt idx="46">
                  <c:v>104</c:v>
                </c:pt>
                <c:pt idx="47">
                  <c:v>104</c:v>
                </c:pt>
                <c:pt idx="48">
                  <c:v>104</c:v>
                </c:pt>
                <c:pt idx="49">
                  <c:v>104</c:v>
                </c:pt>
                <c:pt idx="50">
                  <c:v>104</c:v>
                </c:pt>
                <c:pt idx="51">
                  <c:v>104</c:v>
                </c:pt>
                <c:pt idx="52">
                  <c:v>104</c:v>
                </c:pt>
                <c:pt idx="53">
                  <c:v>104</c:v>
                </c:pt>
                <c:pt idx="54">
                  <c:v>104</c:v>
                </c:pt>
                <c:pt idx="55">
                  <c:v>104</c:v>
                </c:pt>
                <c:pt idx="56">
                  <c:v>104</c:v>
                </c:pt>
                <c:pt idx="57">
                  <c:v>104</c:v>
                </c:pt>
                <c:pt idx="58">
                  <c:v>104</c:v>
                </c:pt>
                <c:pt idx="59">
                  <c:v>104</c:v>
                </c:pt>
                <c:pt idx="60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5</c:v>
                </c:pt>
                <c:pt idx="1">
                  <c:v>32</c:v>
                </c:pt>
                <c:pt idx="2">
                  <c:v>55</c:v>
                </c:pt>
                <c:pt idx="3">
                  <c:v>67</c:v>
                </c:pt>
                <c:pt idx="4">
                  <c:v>79</c:v>
                </c:pt>
                <c:pt idx="5">
                  <c:v>98</c:v>
                </c:pt>
                <c:pt idx="6">
                  <c:v>110</c:v>
                </c:pt>
                <c:pt idx="7">
                  <c:v>134</c:v>
                </c:pt>
                <c:pt idx="8">
                  <c:v>150</c:v>
                </c:pt>
                <c:pt idx="9">
                  <c:v>170</c:v>
                </c:pt>
                <c:pt idx="10">
                  <c:v>189</c:v>
                </c:pt>
                <c:pt idx="11">
                  <c:v>203</c:v>
                </c:pt>
                <c:pt idx="12">
                  <c:v>220</c:v>
                </c:pt>
                <c:pt idx="13">
                  <c:v>239</c:v>
                </c:pt>
                <c:pt idx="14">
                  <c:v>251</c:v>
                </c:pt>
                <c:pt idx="15">
                  <c:v>269</c:v>
                </c:pt>
                <c:pt idx="16">
                  <c:v>280</c:v>
                </c:pt>
                <c:pt idx="17">
                  <c:v>296</c:v>
                </c:pt>
                <c:pt idx="18">
                  <c:v>308</c:v>
                </c:pt>
                <c:pt idx="19">
                  <c:v>326</c:v>
                </c:pt>
                <c:pt idx="20">
                  <c:v>339</c:v>
                </c:pt>
                <c:pt idx="21">
                  <c:v>359</c:v>
                </c:pt>
                <c:pt idx="22">
                  <c:v>378</c:v>
                </c:pt>
                <c:pt idx="23">
                  <c:v>390</c:v>
                </c:pt>
                <c:pt idx="24">
                  <c:v>407</c:v>
                </c:pt>
                <c:pt idx="25">
                  <c:v>419</c:v>
                </c:pt>
                <c:pt idx="26">
                  <c:v>438</c:v>
                </c:pt>
                <c:pt idx="27">
                  <c:v>456</c:v>
                </c:pt>
                <c:pt idx="28">
                  <c:v>479</c:v>
                </c:pt>
                <c:pt idx="29">
                  <c:v>488</c:v>
                </c:pt>
                <c:pt idx="30">
                  <c:v>503</c:v>
                </c:pt>
                <c:pt idx="31">
                  <c:v>523</c:v>
                </c:pt>
                <c:pt idx="32">
                  <c:v>529</c:v>
                </c:pt>
                <c:pt idx="33">
                  <c:v>547</c:v>
                </c:pt>
                <c:pt idx="34">
                  <c:v>558</c:v>
                </c:pt>
                <c:pt idx="35">
                  <c:v>570</c:v>
                </c:pt>
                <c:pt idx="36">
                  <c:v>589</c:v>
                </c:pt>
                <c:pt idx="37">
                  <c:v>598</c:v>
                </c:pt>
                <c:pt idx="38">
                  <c:v>606</c:v>
                </c:pt>
                <c:pt idx="39">
                  <c:v>622</c:v>
                </c:pt>
                <c:pt idx="40">
                  <c:v>631</c:v>
                </c:pt>
                <c:pt idx="41">
                  <c:v>639</c:v>
                </c:pt>
                <c:pt idx="42">
                  <c:v>653</c:v>
                </c:pt>
                <c:pt idx="43">
                  <c:v>665</c:v>
                </c:pt>
                <c:pt idx="44">
                  <c:v>679</c:v>
                </c:pt>
                <c:pt idx="45">
                  <c:v>686</c:v>
                </c:pt>
                <c:pt idx="46">
                  <c:v>699</c:v>
                </c:pt>
                <c:pt idx="47">
                  <c:v>706</c:v>
                </c:pt>
                <c:pt idx="48">
                  <c:v>712</c:v>
                </c:pt>
                <c:pt idx="49">
                  <c:v>726</c:v>
                </c:pt>
                <c:pt idx="50">
                  <c:v>733</c:v>
                </c:pt>
                <c:pt idx="51">
                  <c:v>738</c:v>
                </c:pt>
                <c:pt idx="52">
                  <c:v>747</c:v>
                </c:pt>
                <c:pt idx="53">
                  <c:v>757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14.17821811336705</c:v>
                </c:pt>
                <c:pt idx="32">
                  <c:v>526.99875931915597</c:v>
                </c:pt>
                <c:pt idx="33">
                  <c:v>539.51195250788896</c:v>
                </c:pt>
                <c:pt idx="34">
                  <c:v>551.86305623700071</c:v>
                </c:pt>
                <c:pt idx="35">
                  <c:v>564.02965248377086</c:v>
                </c:pt>
                <c:pt idx="36">
                  <c:v>575.91647349969821</c:v>
                </c:pt>
                <c:pt idx="37">
                  <c:v>587.4830278972513</c:v>
                </c:pt>
                <c:pt idx="38">
                  <c:v>598.75551445374526</c:v>
                </c:pt>
                <c:pt idx="39">
                  <c:v>609.66902154209674</c:v>
                </c:pt>
                <c:pt idx="40">
                  <c:v>620.21163417857997</c:v>
                </c:pt>
                <c:pt idx="41">
                  <c:v>630.40670231477475</c:v>
                </c:pt>
                <c:pt idx="42">
                  <c:v>640.22742765769408</c:v>
                </c:pt>
                <c:pt idx="43">
                  <c:v>649.63562158694094</c:v>
                </c:pt>
                <c:pt idx="44">
                  <c:v>658.61972318608105</c:v>
                </c:pt>
                <c:pt idx="45">
                  <c:v>667.18572454793855</c:v>
                </c:pt>
                <c:pt idx="46">
                  <c:v>675.35876003907015</c:v>
                </c:pt>
                <c:pt idx="47">
                  <c:v>683.168696455131</c:v>
                </c:pt>
                <c:pt idx="48">
                  <c:v>690.63086414464783</c:v>
                </c:pt>
                <c:pt idx="49">
                  <c:v>697.7393549464814</c:v>
                </c:pt>
                <c:pt idx="50">
                  <c:v>704.50585020888275</c:v>
                </c:pt>
                <c:pt idx="51">
                  <c:v>710.95365112695299</c:v>
                </c:pt>
                <c:pt idx="52">
                  <c:v>717.09898545130523</c:v>
                </c:pt>
                <c:pt idx="53">
                  <c:v>722.9483721622596</c:v>
                </c:pt>
                <c:pt idx="54">
                  <c:v>728.51720401937632</c:v>
                </c:pt>
                <c:pt idx="55">
                  <c:v>733.8263205261128</c:v>
                </c:pt>
                <c:pt idx="56">
                  <c:v>738.88718335630404</c:v>
                </c:pt>
                <c:pt idx="57">
                  <c:v>743.71094372017319</c:v>
                </c:pt>
                <c:pt idx="58">
                  <c:v>748.30930709612221</c:v>
                </c:pt>
                <c:pt idx="59">
                  <c:v>752.69052759037652</c:v>
                </c:pt>
                <c:pt idx="60">
                  <c:v>756.86575615191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514.31720279589706</c:v>
                </c:pt>
                <c:pt idx="32">
                  <c:v>527.41085278539731</c:v>
                </c:pt>
                <c:pt idx="33">
                  <c:v>540.31620888465295</c:v>
                </c:pt>
                <c:pt idx="34">
                  <c:v>553.16950156703342</c:v>
                </c:pt>
                <c:pt idx="35">
                  <c:v>565.96630658279173</c:v>
                </c:pt>
                <c:pt idx="36">
                  <c:v>578.63024667849709</c:v>
                </c:pt>
                <c:pt idx="37">
                  <c:v>591.13894337453132</c:v>
                </c:pt>
                <c:pt idx="38">
                  <c:v>603.53123593915802</c:v>
                </c:pt>
                <c:pt idx="39">
                  <c:v>615.7302197709148</c:v>
                </c:pt>
                <c:pt idx="40">
                  <c:v>627.71431100943039</c:v>
                </c:pt>
                <c:pt idx="41">
                  <c:v>639.50534311677075</c:v>
                </c:pt>
                <c:pt idx="42">
                  <c:v>651.07429012683633</c:v>
                </c:pt>
                <c:pt idx="43">
                  <c:v>662.37690620275271</c:v>
                </c:pt>
                <c:pt idx="44">
                  <c:v>673.39308919390271</c:v>
                </c:pt>
                <c:pt idx="45">
                  <c:v>684.11818235624219</c:v>
                </c:pt>
                <c:pt idx="46">
                  <c:v>694.56324194402032</c:v>
                </c:pt>
                <c:pt idx="47">
                  <c:v>704.74815091677135</c:v>
                </c:pt>
                <c:pt idx="48">
                  <c:v>714.67969979298232</c:v>
                </c:pt>
                <c:pt idx="49">
                  <c:v>724.34417981328534</c:v>
                </c:pt>
                <c:pt idx="50">
                  <c:v>733.7448649485782</c:v>
                </c:pt>
                <c:pt idx="51">
                  <c:v>742.89468312787085</c:v>
                </c:pt>
                <c:pt idx="52">
                  <c:v>751.80037349082102</c:v>
                </c:pt>
                <c:pt idx="53">
                  <c:v>760.45993552688606</c:v>
                </c:pt>
                <c:pt idx="54">
                  <c:v>768.88219988236142</c:v>
                </c:pt>
                <c:pt idx="55">
                  <c:v>777.0818610366224</c:v>
                </c:pt>
                <c:pt idx="56">
                  <c:v>785.06319922239948</c:v>
                </c:pt>
                <c:pt idx="57">
                  <c:v>792.83106637713604</c:v>
                </c:pt>
                <c:pt idx="58">
                  <c:v>800.39155074138148</c:v>
                </c:pt>
                <c:pt idx="59">
                  <c:v>807.74731819591398</c:v>
                </c:pt>
                <c:pt idx="60">
                  <c:v>814.9047887538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14.45618747842707</c:v>
                </c:pt>
                <c:pt idx="32">
                  <c:v>527.82338331038852</c:v>
                </c:pt>
                <c:pt idx="33">
                  <c:v>541.12194257343356</c:v>
                </c:pt>
                <c:pt idx="34">
                  <c:v>554.47832506341172</c:v>
                </c:pt>
                <c:pt idx="35">
                  <c:v>567.91333200174813</c:v>
                </c:pt>
                <c:pt idx="36">
                  <c:v>581.37566486215132</c:v>
                </c:pt>
                <c:pt idx="37">
                  <c:v>594.86754452685307</c:v>
                </c:pt>
                <c:pt idx="38">
                  <c:v>608.44568913871342</c:v>
                </c:pt>
                <c:pt idx="39">
                  <c:v>622.02341640659517</c:v>
                </c:pt>
                <c:pt idx="40">
                  <c:v>635.57206361821181</c:v>
                </c:pt>
                <c:pt idx="41">
                  <c:v>649.11878170426235</c:v>
                </c:pt>
                <c:pt idx="42">
                  <c:v>662.64117864721311</c:v>
                </c:pt>
                <c:pt idx="43">
                  <c:v>676.09716682051476</c:v>
                </c:pt>
                <c:pt idx="44">
                  <c:v>689.46123083306065</c:v>
                </c:pt>
                <c:pt idx="45">
                  <c:v>702.72181748780997</c:v>
                </c:pt>
                <c:pt idx="46">
                  <c:v>715.88042571284871</c:v>
                </c:pt>
                <c:pt idx="47">
                  <c:v>728.95145381387169</c:v>
                </c:pt>
                <c:pt idx="48">
                  <c:v>741.93884079811016</c:v>
                </c:pt>
                <c:pt idx="49">
                  <c:v>754.82577330332504</c:v>
                </c:pt>
                <c:pt idx="50">
                  <c:v>767.60834998247833</c:v>
                </c:pt>
                <c:pt idx="51">
                  <c:v>780.29171596928109</c:v>
                </c:pt>
                <c:pt idx="52">
                  <c:v>792.87562317304037</c:v>
                </c:pt>
                <c:pt idx="53">
                  <c:v>805.35229556539628</c:v>
                </c:pt>
                <c:pt idx="54">
                  <c:v>817.72591153098119</c:v>
                </c:pt>
                <c:pt idx="55">
                  <c:v>830.00623624573564</c:v>
                </c:pt>
                <c:pt idx="56">
                  <c:v>842.19196031424178</c:v>
                </c:pt>
                <c:pt idx="57">
                  <c:v>854.28183280845928</c:v>
                </c:pt>
                <c:pt idx="58">
                  <c:v>866.27681646688916</c:v>
                </c:pt>
                <c:pt idx="59">
                  <c:v>878.17448439697341</c:v>
                </c:pt>
                <c:pt idx="60">
                  <c:v>889.97643879218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14.66510156097218</c:v>
                </c:pt>
                <c:pt idx="32">
                  <c:v>528.44256376301678</c:v>
                </c:pt>
                <c:pt idx="33">
                  <c:v>542.33010211040869</c:v>
                </c:pt>
                <c:pt idx="34">
                  <c:v>556.44019966108169</c:v>
                </c:pt>
                <c:pt idx="35">
                  <c:v>570.84429839319125</c:v>
                </c:pt>
                <c:pt idx="36">
                  <c:v>585.54234376585657</c:v>
                </c:pt>
                <c:pt idx="37">
                  <c:v>600.58394614606789</c:v>
                </c:pt>
                <c:pt idx="38">
                  <c:v>616.06329129362155</c:v>
                </c:pt>
                <c:pt idx="39">
                  <c:v>631.88042127827885</c:v>
                </c:pt>
                <c:pt idx="40">
                  <c:v>648.00776000358735</c:v>
                </c:pt>
                <c:pt idx="41">
                  <c:v>664.49641454253958</c:v>
                </c:pt>
                <c:pt idx="42">
                  <c:v>681.35614346050784</c:v>
                </c:pt>
                <c:pt idx="43">
                  <c:v>698.56164444436479</c:v>
                </c:pt>
                <c:pt idx="44">
                  <c:v>716.09245103250578</c:v>
                </c:pt>
                <c:pt idx="45">
                  <c:v>733.93819105577973</c:v>
                </c:pt>
                <c:pt idx="46">
                  <c:v>752.09892870114322</c:v>
                </c:pt>
                <c:pt idx="47">
                  <c:v>770.59915327358271</c:v>
                </c:pt>
                <c:pt idx="48">
                  <c:v>789.45757018968379</c:v>
                </c:pt>
                <c:pt idx="49">
                  <c:v>808.66784532622387</c:v>
                </c:pt>
                <c:pt idx="50">
                  <c:v>828.22899125697734</c:v>
                </c:pt>
                <c:pt idx="51">
                  <c:v>848.14753036265415</c:v>
                </c:pt>
                <c:pt idx="52">
                  <c:v>868.42580186946384</c:v>
                </c:pt>
                <c:pt idx="53">
                  <c:v>889.06369116620101</c:v>
                </c:pt>
                <c:pt idx="54">
                  <c:v>910.07518320002214</c:v>
                </c:pt>
                <c:pt idx="55">
                  <c:v>931.47795710808384</c:v>
                </c:pt>
                <c:pt idx="56">
                  <c:v>953.27465745232894</c:v>
                </c:pt>
                <c:pt idx="57">
                  <c:v>975.46752704424603</c:v>
                </c:pt>
                <c:pt idx="58">
                  <c:v>998.06265580948616</c:v>
                </c:pt>
                <c:pt idx="59">
                  <c:v>1021.0662060217488</c:v>
                </c:pt>
                <c:pt idx="60">
                  <c:v>1044.48785386367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5</c:v>
                </c:pt>
                <c:pt idx="1">
                  <c:v>80</c:v>
                </c:pt>
                <c:pt idx="2">
                  <c:v>87</c:v>
                </c:pt>
                <c:pt idx="3">
                  <c:v>92</c:v>
                </c:pt>
                <c:pt idx="4">
                  <c:v>96</c:v>
                </c:pt>
                <c:pt idx="5">
                  <c:v>97</c:v>
                </c:pt>
                <c:pt idx="6">
                  <c:v>102</c:v>
                </c:pt>
                <c:pt idx="7">
                  <c:v>104</c:v>
                </c:pt>
                <c:pt idx="8">
                  <c:v>115</c:v>
                </c:pt>
                <c:pt idx="9">
                  <c:v>113</c:v>
                </c:pt>
                <c:pt idx="10">
                  <c:v>119</c:v>
                </c:pt>
                <c:pt idx="11">
                  <c:v>120</c:v>
                </c:pt>
                <c:pt idx="12">
                  <c:v>122</c:v>
                </c:pt>
                <c:pt idx="13">
                  <c:v>125</c:v>
                </c:pt>
                <c:pt idx="14">
                  <c:v>127</c:v>
                </c:pt>
                <c:pt idx="15">
                  <c:v>127</c:v>
                </c:pt>
                <c:pt idx="16">
                  <c:v>130</c:v>
                </c:pt>
                <c:pt idx="17">
                  <c:v>129</c:v>
                </c:pt>
                <c:pt idx="18">
                  <c:v>127</c:v>
                </c:pt>
                <c:pt idx="19">
                  <c:v>111</c:v>
                </c:pt>
                <c:pt idx="20">
                  <c:v>115</c:v>
                </c:pt>
                <c:pt idx="21">
                  <c:v>111</c:v>
                </c:pt>
                <c:pt idx="22">
                  <c:v>110</c:v>
                </c:pt>
                <c:pt idx="23">
                  <c:v>107</c:v>
                </c:pt>
                <c:pt idx="24">
                  <c:v>106</c:v>
                </c:pt>
                <c:pt idx="25">
                  <c:v>105</c:v>
                </c:pt>
                <c:pt idx="26">
                  <c:v>103</c:v>
                </c:pt>
                <c:pt idx="27">
                  <c:v>98</c:v>
                </c:pt>
                <c:pt idx="28">
                  <c:v>103</c:v>
                </c:pt>
                <c:pt idx="29">
                  <c:v>104</c:v>
                </c:pt>
                <c:pt idx="30">
                  <c:v>100</c:v>
                </c:pt>
                <c:pt idx="31">
                  <c:v>87</c:v>
                </c:pt>
                <c:pt idx="32">
                  <c:v>85</c:v>
                </c:pt>
                <c:pt idx="33">
                  <c:v>96</c:v>
                </c:pt>
                <c:pt idx="34">
                  <c:v>88</c:v>
                </c:pt>
                <c:pt idx="35">
                  <c:v>89</c:v>
                </c:pt>
                <c:pt idx="36">
                  <c:v>82</c:v>
                </c:pt>
                <c:pt idx="37">
                  <c:v>89</c:v>
                </c:pt>
                <c:pt idx="38">
                  <c:v>91</c:v>
                </c:pt>
                <c:pt idx="39">
                  <c:v>84</c:v>
                </c:pt>
                <c:pt idx="40">
                  <c:v>83</c:v>
                </c:pt>
                <c:pt idx="41">
                  <c:v>78</c:v>
                </c:pt>
                <c:pt idx="42">
                  <c:v>79</c:v>
                </c:pt>
                <c:pt idx="43">
                  <c:v>81</c:v>
                </c:pt>
                <c:pt idx="44">
                  <c:v>80</c:v>
                </c:pt>
                <c:pt idx="45">
                  <c:v>75</c:v>
                </c:pt>
                <c:pt idx="46">
                  <c:v>74</c:v>
                </c:pt>
                <c:pt idx="47">
                  <c:v>76</c:v>
                </c:pt>
                <c:pt idx="48">
                  <c:v>73</c:v>
                </c:pt>
                <c:pt idx="49">
                  <c:v>66</c:v>
                </c:pt>
                <c:pt idx="50">
                  <c:v>66</c:v>
                </c:pt>
                <c:pt idx="51">
                  <c:v>64</c:v>
                </c:pt>
                <c:pt idx="52">
                  <c:v>64</c:v>
                </c:pt>
                <c:pt idx="53">
                  <c:v>53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8.427538253091882</c:v>
                </c:pt>
                <c:pt idx="32">
                  <c:v>96.243621307046737</c:v>
                </c:pt>
                <c:pt idx="33">
                  <c:v>94.084472847499143</c:v>
                </c:pt>
                <c:pt idx="34">
                  <c:v>92.015155366300945</c:v>
                </c:pt>
                <c:pt idx="35">
                  <c:v>90.014413694443675</c:v>
                </c:pt>
                <c:pt idx="36">
                  <c:v>88.04483720453797</c:v>
                </c:pt>
                <c:pt idx="37">
                  <c:v>86.091278054299664</c:v>
                </c:pt>
                <c:pt idx="38">
                  <c:v>84.171005515264483</c:v>
                </c:pt>
                <c:pt idx="39">
                  <c:v>82.231902827285666</c:v>
                </c:pt>
                <c:pt idx="40">
                  <c:v>80.254752235056017</c:v>
                </c:pt>
                <c:pt idx="41">
                  <c:v>78.267148663009948</c:v>
                </c:pt>
                <c:pt idx="42">
                  <c:v>76.239900848399756</c:v>
                </c:pt>
                <c:pt idx="43">
                  <c:v>74.161268887264654</c:v>
                </c:pt>
                <c:pt idx="44">
                  <c:v>72.036452517684523</c:v>
                </c:pt>
                <c:pt idx="45">
                  <c:v>69.880533636682259</c:v>
                </c:pt>
                <c:pt idx="46">
                  <c:v>67.713635498427976</c:v>
                </c:pt>
                <c:pt idx="47">
                  <c:v>65.542804306936134</c:v>
                </c:pt>
                <c:pt idx="48">
                  <c:v>63.366349873075563</c:v>
                </c:pt>
                <c:pt idx="49">
                  <c:v>61.185079411126367</c:v>
                </c:pt>
                <c:pt idx="50">
                  <c:v>59.015146021411923</c:v>
                </c:pt>
                <c:pt idx="51">
                  <c:v>56.866571609121266</c:v>
                </c:pt>
                <c:pt idx="52">
                  <c:v>54.757742602535281</c:v>
                </c:pt>
                <c:pt idx="53">
                  <c:v>52.67506876648855</c:v>
                </c:pt>
                <c:pt idx="54">
                  <c:v>50.626349917984328</c:v>
                </c:pt>
                <c:pt idx="55">
                  <c:v>48.619864705114608</c:v>
                </c:pt>
                <c:pt idx="56">
                  <c:v>46.663518462131385</c:v>
                </c:pt>
                <c:pt idx="57">
                  <c:v>44.764309302477621</c:v>
                </c:pt>
                <c:pt idx="58">
                  <c:v>42.921817592668688</c:v>
                </c:pt>
                <c:pt idx="59">
                  <c:v>41.140325477458035</c:v>
                </c:pt>
                <c:pt idx="60">
                  <c:v>39.417365268893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98.512043241719596</c:v>
                </c:pt>
                <c:pt idx="32">
                  <c:v>96.487830914262446</c:v>
                </c:pt>
                <c:pt idx="33">
                  <c:v>94.548017621284316</c:v>
                </c:pt>
                <c:pt idx="34">
                  <c:v>92.746965108170897</c:v>
                </c:pt>
                <c:pt idx="35">
                  <c:v>91.070093818711953</c:v>
                </c:pt>
                <c:pt idx="36">
                  <c:v>89.486863768645804</c:v>
                </c:pt>
                <c:pt idx="37">
                  <c:v>87.987362591263349</c:v>
                </c:pt>
                <c:pt idx="38">
                  <c:v>86.590211854522579</c:v>
                </c:pt>
                <c:pt idx="39">
                  <c:v>85.230340477925296</c:v>
                </c:pt>
                <c:pt idx="40">
                  <c:v>83.877272818659222</c:v>
                </c:pt>
                <c:pt idx="41">
                  <c:v>82.553354028670185</c:v>
                </c:pt>
                <c:pt idx="42">
                  <c:v>81.224140354276017</c:v>
                </c:pt>
                <c:pt idx="43">
                  <c:v>79.870528565585289</c:v>
                </c:pt>
                <c:pt idx="44">
                  <c:v>78.48947352702676</c:v>
                </c:pt>
                <c:pt idx="45">
                  <c:v>77.087239128360181</c:v>
                </c:pt>
                <c:pt idx="46">
                  <c:v>75.673588952353612</c:v>
                </c:pt>
                <c:pt idx="47">
                  <c:v>74.248705351413122</c:v>
                </c:pt>
                <c:pt idx="48">
                  <c:v>72.805540226839568</c:v>
                </c:pt>
                <c:pt idx="49">
                  <c:v>71.340606846547971</c:v>
                </c:pt>
                <c:pt idx="50">
                  <c:v>69.865608151555776</c:v>
                </c:pt>
                <c:pt idx="51">
                  <c:v>68.385249574670581</c:v>
                </c:pt>
                <c:pt idx="52">
                  <c:v>66.913566356238647</c:v>
                </c:pt>
                <c:pt idx="53">
                  <c:v>65.433897489377983</c:v>
                </c:pt>
                <c:pt idx="54">
                  <c:v>63.952730056244746</c:v>
                </c:pt>
                <c:pt idx="55">
                  <c:v>62.477516710114784</c:v>
                </c:pt>
                <c:pt idx="56">
                  <c:v>61.014836645626644</c:v>
                </c:pt>
                <c:pt idx="57">
                  <c:v>59.571027172138002</c:v>
                </c:pt>
                <c:pt idx="58">
                  <c:v>58.145610353445264</c:v>
                </c:pt>
                <c:pt idx="59">
                  <c:v>56.742977621604481</c:v>
                </c:pt>
                <c:pt idx="60">
                  <c:v>55.361406779351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8.59654823034731</c:v>
                </c:pt>
                <c:pt idx="32">
                  <c:v>96.732306260436104</c:v>
                </c:pt>
                <c:pt idx="33">
                  <c:v>95.012440656546431</c:v>
                </c:pt>
                <c:pt idx="34">
                  <c:v>93.480132474028665</c:v>
                </c:pt>
                <c:pt idx="35">
                  <c:v>92.131881484139484</c:v>
                </c:pt>
                <c:pt idx="36">
                  <c:v>90.947460927978597</c:v>
                </c:pt>
                <c:pt idx="37">
                  <c:v>89.925520230178378</c:v>
                </c:pt>
                <c:pt idx="38">
                  <c:v>89.088315159750962</c:v>
                </c:pt>
                <c:pt idx="39">
                  <c:v>88.358059077361489</c:v>
                </c:pt>
                <c:pt idx="40">
                  <c:v>87.693452042360121</c:v>
                </c:pt>
                <c:pt idx="41">
                  <c:v>87.114537431857542</c:v>
                </c:pt>
                <c:pt idx="42">
                  <c:v>86.585539798952823</c:v>
                </c:pt>
                <c:pt idx="43">
                  <c:v>86.083211695307611</c:v>
                </c:pt>
                <c:pt idx="44">
                  <c:v>85.596078274280984</c:v>
                </c:pt>
                <c:pt idx="45">
                  <c:v>85.12176472994858</c:v>
                </c:pt>
                <c:pt idx="46">
                  <c:v>84.660302870603417</c:v>
                </c:pt>
                <c:pt idx="47">
                  <c:v>84.205528833302466</c:v>
                </c:pt>
                <c:pt idx="48">
                  <c:v>83.7461963358151</c:v>
                </c:pt>
                <c:pt idx="49">
                  <c:v>83.274964366492952</c:v>
                </c:pt>
                <c:pt idx="50">
                  <c:v>82.797350409689713</c:v>
                </c:pt>
                <c:pt idx="51">
                  <c:v>82.311949977450467</c:v>
                </c:pt>
                <c:pt idx="52">
                  <c:v>81.827632525474442</c:v>
                </c:pt>
                <c:pt idx="53">
                  <c:v>81.324060306581487</c:v>
                </c:pt>
                <c:pt idx="54">
                  <c:v>80.805323888137224</c:v>
                </c:pt>
                <c:pt idx="55">
                  <c:v>80.276598094730161</c:v>
                </c:pt>
                <c:pt idx="56">
                  <c:v>79.742017182468274</c:v>
                </c:pt>
                <c:pt idx="57">
                  <c:v>79.205369380044175</c:v>
                </c:pt>
                <c:pt idx="58">
                  <c:v>78.66455072518518</c:v>
                </c:pt>
                <c:pt idx="59">
                  <c:v>78.122660701794445</c:v>
                </c:pt>
                <c:pt idx="60">
                  <c:v>77.577097217851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98.72357145224683</c:v>
                </c:pt>
                <c:pt idx="32">
                  <c:v>97.099233193778659</c:v>
                </c:pt>
                <c:pt idx="33">
                  <c:v>95.708768657650978</c:v>
                </c:pt>
                <c:pt idx="34">
                  <c:v>94.579038747799927</c:v>
                </c:pt>
                <c:pt idx="35">
                  <c:v>93.730952122706128</c:v>
                </c:pt>
                <c:pt idx="36">
                  <c:v>93.167453235846295</c:v>
                </c:pt>
                <c:pt idx="37">
                  <c:v>92.905178343261781</c:v>
                </c:pt>
                <c:pt idx="38">
                  <c:v>92.976617959366678</c:v>
                </c:pt>
                <c:pt idx="39">
                  <c:v>93.283659812202004</c:v>
                </c:pt>
                <c:pt idx="40">
                  <c:v>93.773827981004828</c:v>
                </c:pt>
                <c:pt idx="41">
                  <c:v>94.470953419986444</c:v>
                </c:pt>
                <c:pt idx="42">
                  <c:v>95.347635058800094</c:v>
                </c:pt>
                <c:pt idx="43">
                  <c:v>96.378685993029677</c:v>
                </c:pt>
                <c:pt idx="44">
                  <c:v>97.543572990258767</c:v>
                </c:pt>
                <c:pt idx="45">
                  <c:v>98.829231866657977</c:v>
                </c:pt>
                <c:pt idx="46">
                  <c:v>100.22397353714409</c:v>
                </c:pt>
                <c:pt idx="47">
                  <c:v>101.71792336188116</c:v>
                </c:pt>
                <c:pt idx="48">
                  <c:v>103.29927374500468</c:v>
                </c:pt>
                <c:pt idx="49">
                  <c:v>104.95771609187923</c:v>
                </c:pt>
                <c:pt idx="50">
                  <c:v>106.69109879101596</c:v>
                </c:pt>
                <c:pt idx="51">
                  <c:v>108.48985692151959</c:v>
                </c:pt>
                <c:pt idx="52">
                  <c:v>110.35598893994361</c:v>
                </c:pt>
                <c:pt idx="53">
                  <c:v>112.26634382846891</c:v>
                </c:pt>
                <c:pt idx="54">
                  <c:v>114.2241072661034</c:v>
                </c:pt>
                <c:pt idx="55">
                  <c:v>116.23252730546392</c:v>
                </c:pt>
                <c:pt idx="56">
                  <c:v>118.29153261447506</c:v>
                </c:pt>
                <c:pt idx="57">
                  <c:v>120.40068150603881</c:v>
                </c:pt>
                <c:pt idx="58">
                  <c:v>122.55515828190522</c:v>
                </c:pt>
                <c:pt idx="59">
                  <c:v>124.75791486687224</c:v>
                </c:pt>
                <c:pt idx="60">
                  <c:v>127.0060941670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4</c:v>
                </c:pt>
                <c:pt idx="1">
                  <c:v>74</c:v>
                </c:pt>
                <c:pt idx="2">
                  <c:v>74</c:v>
                </c:pt>
                <c:pt idx="3">
                  <c:v>74</c:v>
                </c:pt>
                <c:pt idx="4">
                  <c:v>74</c:v>
                </c:pt>
                <c:pt idx="5">
                  <c:v>74</c:v>
                </c:pt>
                <c:pt idx="6">
                  <c:v>74</c:v>
                </c:pt>
                <c:pt idx="7">
                  <c:v>74</c:v>
                </c:pt>
                <c:pt idx="8">
                  <c:v>74</c:v>
                </c:pt>
                <c:pt idx="9">
                  <c:v>74</c:v>
                </c:pt>
                <c:pt idx="10">
                  <c:v>74</c:v>
                </c:pt>
                <c:pt idx="11">
                  <c:v>74</c:v>
                </c:pt>
                <c:pt idx="12">
                  <c:v>74</c:v>
                </c:pt>
                <c:pt idx="13">
                  <c:v>74</c:v>
                </c:pt>
                <c:pt idx="14">
                  <c:v>74</c:v>
                </c:pt>
                <c:pt idx="15">
                  <c:v>74</c:v>
                </c:pt>
                <c:pt idx="16">
                  <c:v>74</c:v>
                </c:pt>
                <c:pt idx="17">
                  <c:v>74</c:v>
                </c:pt>
                <c:pt idx="18">
                  <c:v>74</c:v>
                </c:pt>
                <c:pt idx="19">
                  <c:v>74</c:v>
                </c:pt>
                <c:pt idx="20">
                  <c:v>74</c:v>
                </c:pt>
                <c:pt idx="21">
                  <c:v>74</c:v>
                </c:pt>
                <c:pt idx="22">
                  <c:v>74</c:v>
                </c:pt>
                <c:pt idx="23">
                  <c:v>74</c:v>
                </c:pt>
                <c:pt idx="24">
                  <c:v>74</c:v>
                </c:pt>
                <c:pt idx="25">
                  <c:v>74</c:v>
                </c:pt>
                <c:pt idx="26">
                  <c:v>74</c:v>
                </c:pt>
                <c:pt idx="27">
                  <c:v>74</c:v>
                </c:pt>
                <c:pt idx="28">
                  <c:v>74</c:v>
                </c:pt>
                <c:pt idx="29">
                  <c:v>74</c:v>
                </c:pt>
                <c:pt idx="30">
                  <c:v>74</c:v>
                </c:pt>
                <c:pt idx="31">
                  <c:v>74</c:v>
                </c:pt>
                <c:pt idx="32">
                  <c:v>74</c:v>
                </c:pt>
                <c:pt idx="33">
                  <c:v>74</c:v>
                </c:pt>
                <c:pt idx="34">
                  <c:v>74</c:v>
                </c:pt>
                <c:pt idx="35">
                  <c:v>74</c:v>
                </c:pt>
                <c:pt idx="36">
                  <c:v>74</c:v>
                </c:pt>
                <c:pt idx="37">
                  <c:v>74</c:v>
                </c:pt>
                <c:pt idx="38">
                  <c:v>74</c:v>
                </c:pt>
                <c:pt idx="39">
                  <c:v>74</c:v>
                </c:pt>
                <c:pt idx="40">
                  <c:v>74</c:v>
                </c:pt>
                <c:pt idx="41">
                  <c:v>74</c:v>
                </c:pt>
                <c:pt idx="42">
                  <c:v>74</c:v>
                </c:pt>
                <c:pt idx="43">
                  <c:v>74</c:v>
                </c:pt>
                <c:pt idx="44">
                  <c:v>74</c:v>
                </c:pt>
                <c:pt idx="45">
                  <c:v>74</c:v>
                </c:pt>
                <c:pt idx="46">
                  <c:v>74</c:v>
                </c:pt>
                <c:pt idx="47">
                  <c:v>74</c:v>
                </c:pt>
                <c:pt idx="48">
                  <c:v>74</c:v>
                </c:pt>
                <c:pt idx="49">
                  <c:v>74</c:v>
                </c:pt>
                <c:pt idx="50">
                  <c:v>74</c:v>
                </c:pt>
                <c:pt idx="51">
                  <c:v>74</c:v>
                </c:pt>
                <c:pt idx="52">
                  <c:v>74</c:v>
                </c:pt>
                <c:pt idx="53">
                  <c:v>74</c:v>
                </c:pt>
                <c:pt idx="54">
                  <c:v>74</c:v>
                </c:pt>
                <c:pt idx="55">
                  <c:v>74</c:v>
                </c:pt>
                <c:pt idx="56">
                  <c:v>74</c:v>
                </c:pt>
                <c:pt idx="57">
                  <c:v>74</c:v>
                </c:pt>
                <c:pt idx="58">
                  <c:v>74</c:v>
                </c:pt>
                <c:pt idx="59">
                  <c:v>74</c:v>
                </c:pt>
                <c:pt idx="60">
                  <c:v>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16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1</c:v>
                </c:pt>
                <c:pt idx="1">
                  <c:v>118</c:v>
                </c:pt>
                <c:pt idx="2">
                  <c:v>119</c:v>
                </c:pt>
                <c:pt idx="3">
                  <c:v>121</c:v>
                </c:pt>
                <c:pt idx="4">
                  <c:v>126</c:v>
                </c:pt>
                <c:pt idx="5">
                  <c:v>130</c:v>
                </c:pt>
                <c:pt idx="6">
                  <c:v>125</c:v>
                </c:pt>
                <c:pt idx="7">
                  <c:v>129</c:v>
                </c:pt>
                <c:pt idx="8">
                  <c:v>127</c:v>
                </c:pt>
                <c:pt idx="9">
                  <c:v>138</c:v>
                </c:pt>
                <c:pt idx="10">
                  <c:v>131</c:v>
                </c:pt>
                <c:pt idx="11">
                  <c:v>127</c:v>
                </c:pt>
                <c:pt idx="12">
                  <c:v>123</c:v>
                </c:pt>
                <c:pt idx="13">
                  <c:v>122</c:v>
                </c:pt>
                <c:pt idx="14">
                  <c:v>124</c:v>
                </c:pt>
                <c:pt idx="15">
                  <c:v>132</c:v>
                </c:pt>
                <c:pt idx="16">
                  <c:v>129</c:v>
                </c:pt>
                <c:pt idx="17">
                  <c:v>127</c:v>
                </c:pt>
                <c:pt idx="18">
                  <c:v>123</c:v>
                </c:pt>
                <c:pt idx="19">
                  <c:v>112</c:v>
                </c:pt>
                <c:pt idx="20">
                  <c:v>111</c:v>
                </c:pt>
                <c:pt idx="21">
                  <c:v>118</c:v>
                </c:pt>
                <c:pt idx="22">
                  <c:v>109</c:v>
                </c:pt>
                <c:pt idx="23">
                  <c:v>115</c:v>
                </c:pt>
                <c:pt idx="24">
                  <c:v>111</c:v>
                </c:pt>
                <c:pt idx="25">
                  <c:v>103</c:v>
                </c:pt>
                <c:pt idx="26">
                  <c:v>103</c:v>
                </c:pt>
                <c:pt idx="27">
                  <c:v>98</c:v>
                </c:pt>
                <c:pt idx="28">
                  <c:v>96</c:v>
                </c:pt>
                <c:pt idx="29">
                  <c:v>93</c:v>
                </c:pt>
                <c:pt idx="30">
                  <c:v>90</c:v>
                </c:pt>
                <c:pt idx="31">
                  <c:v>93</c:v>
                </c:pt>
                <c:pt idx="32">
                  <c:v>90</c:v>
                </c:pt>
                <c:pt idx="33">
                  <c:v>94</c:v>
                </c:pt>
                <c:pt idx="34">
                  <c:v>90</c:v>
                </c:pt>
                <c:pt idx="35">
                  <c:v>91</c:v>
                </c:pt>
                <c:pt idx="36">
                  <c:v>84</c:v>
                </c:pt>
                <c:pt idx="37">
                  <c:v>83</c:v>
                </c:pt>
                <c:pt idx="38">
                  <c:v>74</c:v>
                </c:pt>
                <c:pt idx="39">
                  <c:v>71</c:v>
                </c:pt>
                <c:pt idx="40">
                  <c:v>68</c:v>
                </c:pt>
                <c:pt idx="41">
                  <c:v>69</c:v>
                </c:pt>
                <c:pt idx="42">
                  <c:v>65</c:v>
                </c:pt>
                <c:pt idx="43">
                  <c:v>59</c:v>
                </c:pt>
                <c:pt idx="44">
                  <c:v>56</c:v>
                </c:pt>
                <c:pt idx="45">
                  <c:v>54</c:v>
                </c:pt>
                <c:pt idx="46">
                  <c:v>51</c:v>
                </c:pt>
                <c:pt idx="47">
                  <c:v>50</c:v>
                </c:pt>
                <c:pt idx="48">
                  <c:v>54</c:v>
                </c:pt>
                <c:pt idx="49">
                  <c:v>53</c:v>
                </c:pt>
                <c:pt idx="50">
                  <c:v>45</c:v>
                </c:pt>
                <c:pt idx="51">
                  <c:v>37</c:v>
                </c:pt>
                <c:pt idx="52">
                  <c:v>34</c:v>
                </c:pt>
                <c:pt idx="53">
                  <c:v>3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0.842327871757561</c:v>
                </c:pt>
                <c:pt idx="32">
                  <c:v>88.830275262763735</c:v>
                </c:pt>
                <c:pt idx="33">
                  <c:v>86.840895597301341</c:v>
                </c:pt>
                <c:pt idx="34">
                  <c:v>84.933723583763182</c:v>
                </c:pt>
                <c:pt idx="35">
                  <c:v>83.089257065243487</c:v>
                </c:pt>
                <c:pt idx="36">
                  <c:v>81.273409998862817</c:v>
                </c:pt>
                <c:pt idx="37">
                  <c:v>79.471329122419675</c:v>
                </c:pt>
                <c:pt idx="38">
                  <c:v>77.699734412719579</c:v>
                </c:pt>
                <c:pt idx="39">
                  <c:v>75.910567126852442</c:v>
                </c:pt>
                <c:pt idx="40">
                  <c:v>74.086319608554589</c:v>
                </c:pt>
                <c:pt idx="41">
                  <c:v>72.251823558328141</c:v>
                </c:pt>
                <c:pt idx="42">
                  <c:v>70.380319540179514</c:v>
                </c:pt>
                <c:pt idx="43">
                  <c:v>68.461217801336488</c:v>
                </c:pt>
                <c:pt idx="44">
                  <c:v>66.499420076726437</c:v>
                </c:pt>
                <c:pt idx="45">
                  <c:v>64.508840494898095</c:v>
                </c:pt>
                <c:pt idx="46">
                  <c:v>62.507795132899886</c:v>
                </c:pt>
                <c:pt idx="47">
                  <c:v>60.502950384295318</c:v>
                </c:pt>
                <c:pt idx="48">
                  <c:v>58.492948359150745</c:v>
                </c:pt>
                <c:pt idx="49">
                  <c:v>56.478397941391833</c:v>
                </c:pt>
                <c:pt idx="50">
                  <c:v>54.474188851080598</c:v>
                </c:pt>
                <c:pt idx="51">
                  <c:v>52.489716613361324</c:v>
                </c:pt>
                <c:pt idx="52">
                  <c:v>50.541893680456198</c:v>
                </c:pt>
                <c:pt idx="53">
                  <c:v>48.618233596431779</c:v>
                </c:pt>
                <c:pt idx="54">
                  <c:v>46.725787981053045</c:v>
                </c:pt>
                <c:pt idx="55">
                  <c:v>44.872371044913194</c:v>
                </c:pt>
                <c:pt idx="56">
                  <c:v>43.065365727462229</c:v>
                </c:pt>
                <c:pt idx="57">
                  <c:v>41.311173300195023</c:v>
                </c:pt>
                <c:pt idx="58">
                  <c:v>39.609299804752226</c:v>
                </c:pt>
                <c:pt idx="59">
                  <c:v>37.963687247397409</c:v>
                </c:pt>
                <c:pt idx="60">
                  <c:v>36.3720562825847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90.920509320942756</c:v>
                </c:pt>
                <c:pt idx="32">
                  <c:v>89.056220403665208</c:v>
                </c:pt>
                <c:pt idx="33">
                  <c:v>87.269739923328672</c:v>
                </c:pt>
                <c:pt idx="34">
                  <c:v>85.610722145855206</c:v>
                </c:pt>
                <c:pt idx="35">
                  <c:v>84.065841494540351</c:v>
                </c:pt>
                <c:pt idx="36">
                  <c:v>82.607317821579755</c:v>
                </c:pt>
                <c:pt idx="37">
                  <c:v>81.225109768979095</c:v>
                </c:pt>
                <c:pt idx="38">
                  <c:v>79.937185938461056</c:v>
                </c:pt>
                <c:pt idx="39">
                  <c:v>78.683512554492935</c:v>
                </c:pt>
                <c:pt idx="40">
                  <c:v>77.436157182860526</c:v>
                </c:pt>
                <c:pt idx="41">
                  <c:v>76.215097563544589</c:v>
                </c:pt>
                <c:pt idx="42">
                  <c:v>74.988744110251289</c:v>
                </c:pt>
                <c:pt idx="43">
                  <c:v>73.739692288789769</c:v>
                </c:pt>
                <c:pt idx="44">
                  <c:v>72.465215111934242</c:v>
                </c:pt>
                <c:pt idx="45">
                  <c:v>71.171078222995462</c:v>
                </c:pt>
                <c:pt idx="46">
                  <c:v>69.866032733085817</c:v>
                </c:pt>
                <c:pt idx="47">
                  <c:v>68.550410049124764</c:v>
                </c:pt>
                <c:pt idx="48">
                  <c:v>67.217904483704302</c:v>
                </c:pt>
                <c:pt idx="49">
                  <c:v>65.865158716551747</c:v>
                </c:pt>
                <c:pt idx="50">
                  <c:v>64.502953569072361</c:v>
                </c:pt>
                <c:pt idx="51">
                  <c:v>63.13577338090883</c:v>
                </c:pt>
                <c:pt idx="52">
                  <c:v>61.776510919298964</c:v>
                </c:pt>
                <c:pt idx="53">
                  <c:v>60.409845424133408</c:v>
                </c:pt>
                <c:pt idx="54">
                  <c:v>59.041622257301583</c:v>
                </c:pt>
                <c:pt idx="55">
                  <c:v>57.678900996210672</c:v>
                </c:pt>
                <c:pt idx="56">
                  <c:v>56.327838796030065</c:v>
                </c:pt>
                <c:pt idx="57">
                  <c:v>54.994225690208779</c:v>
                </c:pt>
                <c:pt idx="58">
                  <c:v>53.677517623549775</c:v>
                </c:pt>
                <c:pt idx="59">
                  <c:v>52.381762260602926</c:v>
                </c:pt>
                <c:pt idx="60">
                  <c:v>51.1053724435598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0.998690770127922</c:v>
                </c:pt>
                <c:pt idx="32">
                  <c:v>89.282411398180486</c:v>
                </c:pt>
                <c:pt idx="33">
                  <c:v>87.699396821110511</c:v>
                </c:pt>
                <c:pt idx="34">
                  <c:v>86.288976711684185</c:v>
                </c:pt>
                <c:pt idx="35">
                  <c:v>85.048076213533861</c:v>
                </c:pt>
                <c:pt idx="36">
                  <c:v>83.958406798367037</c:v>
                </c:pt>
                <c:pt idx="37">
                  <c:v>83.017814380841031</c:v>
                </c:pt>
                <c:pt idx="38">
                  <c:v>82.247626767353736</c:v>
                </c:pt>
                <c:pt idx="39">
                  <c:v>81.576055369949756</c:v>
                </c:pt>
                <c:pt idx="40">
                  <c:v>80.965140871313906</c:v>
                </c:pt>
                <c:pt idx="41">
                  <c:v>80.432730756993038</c:v>
                </c:pt>
                <c:pt idx="42">
                  <c:v>79.946028472895236</c:v>
                </c:pt>
                <c:pt idx="43">
                  <c:v>79.483788573433941</c:v>
                </c:pt>
                <c:pt idx="44">
                  <c:v>79.035481002657406</c:v>
                </c:pt>
                <c:pt idx="45">
                  <c:v>78.598886349693899</c:v>
                </c:pt>
                <c:pt idx="46">
                  <c:v>78.173771295671315</c:v>
                </c:pt>
                <c:pt idx="47">
                  <c:v>77.754608462460908</c:v>
                </c:pt>
                <c:pt idx="48">
                  <c:v>77.331214291154282</c:v>
                </c:pt>
                <c:pt idx="49">
                  <c:v>76.896670960683252</c:v>
                </c:pt>
                <c:pt idx="50">
                  <c:v>76.45604381765736</c:v>
                </c:pt>
                <c:pt idx="51">
                  <c:v>76.008171312242965</c:v>
                </c:pt>
                <c:pt idx="52">
                  <c:v>75.561174038948579</c:v>
                </c:pt>
                <c:pt idx="53">
                  <c:v>75.096336685567849</c:v>
                </c:pt>
                <c:pt idx="54">
                  <c:v>74.617296103743783</c:v>
                </c:pt>
                <c:pt idx="55">
                  <c:v>74.129014335236235</c:v>
                </c:pt>
                <c:pt idx="56">
                  <c:v>73.635388697467192</c:v>
                </c:pt>
                <c:pt idx="57">
                  <c:v>73.139852515914711</c:v>
                </c:pt>
                <c:pt idx="58">
                  <c:v>72.640362308294755</c:v>
                </c:pt>
                <c:pt idx="59">
                  <c:v>72.139777322378677</c:v>
                </c:pt>
                <c:pt idx="60">
                  <c:v>71.6357007500365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91.116208797519505</c:v>
                </c:pt>
                <c:pt idx="32">
                  <c:v>89.621895827673384</c:v>
                </c:pt>
                <c:pt idx="33">
                  <c:v>88.343598449361593</c:v>
                </c:pt>
                <c:pt idx="34">
                  <c:v>87.305576912015084</c:v>
                </c:pt>
                <c:pt idx="35">
                  <c:v>86.527339413168193</c:v>
                </c:pt>
                <c:pt idx="36">
                  <c:v>86.011960443590283</c:v>
                </c:pt>
                <c:pt idx="37">
                  <c:v>85.773873454894201</c:v>
                </c:pt>
                <c:pt idx="38">
                  <c:v>85.843869170878747</c:v>
                </c:pt>
                <c:pt idx="39">
                  <c:v>86.131367244332296</c:v>
                </c:pt>
                <c:pt idx="40">
                  <c:v>86.588042828847165</c:v>
                </c:pt>
                <c:pt idx="41">
                  <c:v>87.235240344880935</c:v>
                </c:pt>
                <c:pt idx="42">
                  <c:v>88.047938752904656</c:v>
                </c:pt>
                <c:pt idx="43">
                  <c:v>89.00307968069373</c:v>
                </c:pt>
                <c:pt idx="44">
                  <c:v>90.081739414852365</c:v>
                </c:pt>
                <c:pt idx="45">
                  <c:v>91.271815354676107</c:v>
                </c:pt>
                <c:pt idx="46">
                  <c:v>92.562253665787651</c:v>
                </c:pt>
                <c:pt idx="47">
                  <c:v>93.944104697360046</c:v>
                </c:pt>
                <c:pt idx="48">
                  <c:v>95.40666833943007</c:v>
                </c:pt>
                <c:pt idx="49">
                  <c:v>96.940282811960913</c:v>
                </c:pt>
                <c:pt idx="50">
                  <c:v>98.542922895434629</c:v>
                </c:pt>
                <c:pt idx="51">
                  <c:v>100.20588502057939</c:v>
                </c:pt>
                <c:pt idx="52">
                  <c:v>101.93094061179622</c:v>
                </c:pt>
                <c:pt idx="53">
                  <c:v>103.69677883447062</c:v>
                </c:pt>
                <c:pt idx="54">
                  <c:v>105.50620826580922</c:v>
                </c:pt>
                <c:pt idx="55">
                  <c:v>107.36241931890832</c:v>
                </c:pt>
                <c:pt idx="56">
                  <c:v>109.26541890499158</c:v>
                </c:pt>
                <c:pt idx="57">
                  <c:v>111.2147280050234</c:v>
                </c:pt>
                <c:pt idx="58">
                  <c:v>113.20580136940831</c:v>
                </c:pt>
                <c:pt idx="59">
                  <c:v>115.24137105932716</c:v>
                </c:pt>
                <c:pt idx="60">
                  <c:v>117.318809653158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</c:v>
                </c:pt>
                <c:pt idx="1">
                  <c:v>56</c:v>
                </c:pt>
                <c:pt idx="2">
                  <c:v>56</c:v>
                </c:pt>
                <c:pt idx="3">
                  <c:v>56</c:v>
                </c:pt>
                <c:pt idx="4">
                  <c:v>56</c:v>
                </c:pt>
                <c:pt idx="5">
                  <c:v>56</c:v>
                </c:pt>
                <c:pt idx="6">
                  <c:v>56</c:v>
                </c:pt>
                <c:pt idx="7">
                  <c:v>56</c:v>
                </c:pt>
                <c:pt idx="8">
                  <c:v>56</c:v>
                </c:pt>
                <c:pt idx="9">
                  <c:v>56</c:v>
                </c:pt>
                <c:pt idx="10">
                  <c:v>56</c:v>
                </c:pt>
                <c:pt idx="11">
                  <c:v>56</c:v>
                </c:pt>
                <c:pt idx="12">
                  <c:v>56</c:v>
                </c:pt>
                <c:pt idx="13">
                  <c:v>56</c:v>
                </c:pt>
                <c:pt idx="14">
                  <c:v>56</c:v>
                </c:pt>
                <c:pt idx="15">
                  <c:v>56</c:v>
                </c:pt>
                <c:pt idx="16">
                  <c:v>56</c:v>
                </c:pt>
                <c:pt idx="17">
                  <c:v>56</c:v>
                </c:pt>
                <c:pt idx="18">
                  <c:v>56</c:v>
                </c:pt>
                <c:pt idx="19">
                  <c:v>56</c:v>
                </c:pt>
                <c:pt idx="20">
                  <c:v>56</c:v>
                </c:pt>
                <c:pt idx="21">
                  <c:v>56</c:v>
                </c:pt>
                <c:pt idx="22">
                  <c:v>56</c:v>
                </c:pt>
                <c:pt idx="23">
                  <c:v>56</c:v>
                </c:pt>
                <c:pt idx="24">
                  <c:v>56</c:v>
                </c:pt>
                <c:pt idx="25">
                  <c:v>56</c:v>
                </c:pt>
                <c:pt idx="26">
                  <c:v>56</c:v>
                </c:pt>
                <c:pt idx="27">
                  <c:v>56</c:v>
                </c:pt>
                <c:pt idx="28">
                  <c:v>56</c:v>
                </c:pt>
                <c:pt idx="29">
                  <c:v>56</c:v>
                </c:pt>
                <c:pt idx="30">
                  <c:v>56</c:v>
                </c:pt>
                <c:pt idx="31">
                  <c:v>56</c:v>
                </c:pt>
                <c:pt idx="32">
                  <c:v>56</c:v>
                </c:pt>
                <c:pt idx="33">
                  <c:v>56</c:v>
                </c:pt>
                <c:pt idx="34">
                  <c:v>56</c:v>
                </c:pt>
                <c:pt idx="35">
                  <c:v>56</c:v>
                </c:pt>
                <c:pt idx="36">
                  <c:v>56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6</c:v>
                </c:pt>
                <c:pt idx="46">
                  <c:v>56</c:v>
                </c:pt>
                <c:pt idx="47">
                  <c:v>56</c:v>
                </c:pt>
                <c:pt idx="48">
                  <c:v>56</c:v>
                </c:pt>
                <c:pt idx="49">
                  <c:v>56</c:v>
                </c:pt>
                <c:pt idx="50">
                  <c:v>56</c:v>
                </c:pt>
                <c:pt idx="51">
                  <c:v>56</c:v>
                </c:pt>
                <c:pt idx="52">
                  <c:v>56</c:v>
                </c:pt>
                <c:pt idx="53">
                  <c:v>56</c:v>
                </c:pt>
                <c:pt idx="54">
                  <c:v>56</c:v>
                </c:pt>
                <c:pt idx="55">
                  <c:v>56</c:v>
                </c:pt>
                <c:pt idx="56">
                  <c:v>56</c:v>
                </c:pt>
                <c:pt idx="57">
                  <c:v>56</c:v>
                </c:pt>
                <c:pt idx="58">
                  <c:v>56</c:v>
                </c:pt>
                <c:pt idx="59">
                  <c:v>56</c:v>
                </c:pt>
                <c:pt idx="60">
                  <c:v>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2</c:v>
                </c:pt>
                <c:pt idx="1">
                  <c:v>62</c:v>
                </c:pt>
                <c:pt idx="2">
                  <c:v>51</c:v>
                </c:pt>
                <c:pt idx="3">
                  <c:v>53</c:v>
                </c:pt>
                <c:pt idx="4">
                  <c:v>52</c:v>
                </c:pt>
                <c:pt idx="5">
                  <c:v>52</c:v>
                </c:pt>
                <c:pt idx="6">
                  <c:v>49</c:v>
                </c:pt>
                <c:pt idx="7">
                  <c:v>53</c:v>
                </c:pt>
                <c:pt idx="8">
                  <c:v>51</c:v>
                </c:pt>
                <c:pt idx="9">
                  <c:v>52</c:v>
                </c:pt>
                <c:pt idx="10">
                  <c:v>53</c:v>
                </c:pt>
                <c:pt idx="11">
                  <c:v>54</c:v>
                </c:pt>
                <c:pt idx="12">
                  <c:v>49</c:v>
                </c:pt>
                <c:pt idx="13">
                  <c:v>44</c:v>
                </c:pt>
                <c:pt idx="14">
                  <c:v>42</c:v>
                </c:pt>
                <c:pt idx="15">
                  <c:v>39</c:v>
                </c:pt>
                <c:pt idx="16">
                  <c:v>43</c:v>
                </c:pt>
                <c:pt idx="17">
                  <c:v>47</c:v>
                </c:pt>
                <c:pt idx="18">
                  <c:v>40</c:v>
                </c:pt>
                <c:pt idx="19">
                  <c:v>37</c:v>
                </c:pt>
                <c:pt idx="20">
                  <c:v>37</c:v>
                </c:pt>
                <c:pt idx="21">
                  <c:v>34</c:v>
                </c:pt>
                <c:pt idx="22">
                  <c:v>36</c:v>
                </c:pt>
                <c:pt idx="23">
                  <c:v>29</c:v>
                </c:pt>
                <c:pt idx="24">
                  <c:v>30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1</c:v>
                </c:pt>
                <c:pt idx="29">
                  <c:v>33</c:v>
                </c:pt>
                <c:pt idx="30">
                  <c:v>29</c:v>
                </c:pt>
                <c:pt idx="31">
                  <c:v>28</c:v>
                </c:pt>
                <c:pt idx="32">
                  <c:v>25</c:v>
                </c:pt>
                <c:pt idx="33">
                  <c:v>24</c:v>
                </c:pt>
                <c:pt idx="34">
                  <c:v>22</c:v>
                </c:pt>
                <c:pt idx="35">
                  <c:v>22</c:v>
                </c:pt>
                <c:pt idx="36">
                  <c:v>22</c:v>
                </c:pt>
                <c:pt idx="37">
                  <c:v>21</c:v>
                </c:pt>
                <c:pt idx="38">
                  <c:v>21</c:v>
                </c:pt>
                <c:pt idx="39">
                  <c:v>21</c:v>
                </c:pt>
                <c:pt idx="40">
                  <c:v>18</c:v>
                </c:pt>
                <c:pt idx="41">
                  <c:v>16</c:v>
                </c:pt>
                <c:pt idx="42">
                  <c:v>15</c:v>
                </c:pt>
                <c:pt idx="43">
                  <c:v>15</c:v>
                </c:pt>
                <c:pt idx="44">
                  <c:v>13</c:v>
                </c:pt>
                <c:pt idx="45">
                  <c:v>9</c:v>
                </c:pt>
                <c:pt idx="46">
                  <c:v>7</c:v>
                </c:pt>
                <c:pt idx="47">
                  <c:v>8</c:v>
                </c:pt>
                <c:pt idx="48">
                  <c:v>6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2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9.159924933557587</c:v>
                </c:pt>
                <c:pt idx="32">
                  <c:v>28.527569915150522</c:v>
                </c:pt>
                <c:pt idx="33">
                  <c:v>27.901784915938986</c:v>
                </c:pt>
                <c:pt idx="34">
                  <c:v>27.299733033521669</c:v>
                </c:pt>
                <c:pt idx="35">
                  <c:v>26.715590021323106</c:v>
                </c:pt>
                <c:pt idx="36">
                  <c:v>26.140087906615108</c:v>
                </c:pt>
                <c:pt idx="37">
                  <c:v>25.565151255651259</c:v>
                </c:pt>
                <c:pt idx="38">
                  <c:v>24.999108970216565</c:v>
                </c:pt>
                <c:pt idx="39">
                  <c:v>24.42669245789045</c:v>
                </c:pt>
                <c:pt idx="40">
                  <c:v>23.843150102837996</c:v>
                </c:pt>
                <c:pt idx="41">
                  <c:v>23.254039986757203</c:v>
                </c:pt>
                <c:pt idx="42">
                  <c:v>22.651463093755474</c:v>
                </c:pt>
                <c:pt idx="43">
                  <c:v>22.032950286305745</c:v>
                </c:pt>
                <c:pt idx="44">
                  <c:v>21.400464240651111</c:v>
                </c:pt>
                <c:pt idx="45">
                  <c:v>20.758450482740997</c:v>
                </c:pt>
                <c:pt idx="46">
                  <c:v>20.11181667852707</c:v>
                </c:pt>
                <c:pt idx="47">
                  <c:v>19.463321189026118</c:v>
                </c:pt>
                <c:pt idx="48">
                  <c:v>18.813293850531359</c:v>
                </c:pt>
                <c:pt idx="49">
                  <c:v>18.161414234573929</c:v>
                </c:pt>
                <c:pt idx="50">
                  <c:v>17.512391529928472</c:v>
                </c:pt>
                <c:pt idx="51">
                  <c:v>16.869794759592271</c:v>
                </c:pt>
                <c:pt idx="52">
                  <c:v>16.238836542506824</c:v>
                </c:pt>
                <c:pt idx="53">
                  <c:v>15.615722770830917</c:v>
                </c:pt>
                <c:pt idx="54">
                  <c:v>15.002159453291092</c:v>
                </c:pt>
                <c:pt idx="55">
                  <c:v>14.4013126181801</c:v>
                </c:pt>
                <c:pt idx="56">
                  <c:v>13.815881184343441</c:v>
                </c:pt>
                <c:pt idx="57">
                  <c:v>13.247701863455859</c:v>
                </c:pt>
                <c:pt idx="58">
                  <c:v>12.696211866422546</c:v>
                </c:pt>
                <c:pt idx="59">
                  <c:v>12.162638129982984</c:v>
                </c:pt>
                <c:pt idx="60">
                  <c:v>11.6462420708989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29.185736082352406</c:v>
                </c:pt>
                <c:pt idx="32">
                  <c:v>28.60220154196373</c:v>
                </c:pt>
                <c:pt idx="33">
                  <c:v>28.043315379722387</c:v>
                </c:pt>
                <c:pt idx="34">
                  <c:v>27.523052684048295</c:v>
                </c:pt>
                <c:pt idx="35">
                  <c:v>27.037630283124038</c:v>
                </c:pt>
                <c:pt idx="36">
                  <c:v>26.579670700957468</c:v>
                </c:pt>
                <c:pt idx="37">
                  <c:v>26.142566906376857</c:v>
                </c:pt>
                <c:pt idx="38">
                  <c:v>25.735050656474115</c:v>
                </c:pt>
                <c:pt idx="39">
                  <c:v>25.337937342190486</c:v>
                </c:pt>
                <c:pt idx="40">
                  <c:v>24.942998423914492</c:v>
                </c:pt>
                <c:pt idx="41">
                  <c:v>24.5542007034257</c:v>
                </c:pt>
                <c:pt idx="42">
                  <c:v>24.162161271721541</c:v>
                </c:pt>
                <c:pt idx="43">
                  <c:v>23.76215184621757</c:v>
                </c:pt>
                <c:pt idx="44">
                  <c:v>23.353613442235449</c:v>
                </c:pt>
                <c:pt idx="45">
                  <c:v>22.938337959369484</c:v>
                </c:pt>
                <c:pt idx="46">
                  <c:v>22.518148920719909</c:v>
                </c:pt>
                <c:pt idx="47">
                  <c:v>22.09377084684639</c:v>
                </c:pt>
                <c:pt idx="48">
                  <c:v>21.663934785265141</c:v>
                </c:pt>
                <c:pt idx="49">
                  <c:v>21.227035177307478</c:v>
                </c:pt>
                <c:pt idx="50">
                  <c:v>20.786455886617563</c:v>
                </c:pt>
                <c:pt idx="51">
                  <c:v>20.344172715123403</c:v>
                </c:pt>
                <c:pt idx="52">
                  <c:v>19.904093519348699</c:v>
                </c:pt>
                <c:pt idx="53">
                  <c:v>19.461513719212654</c:v>
                </c:pt>
                <c:pt idx="54">
                  <c:v>19.017772253999773</c:v>
                </c:pt>
                <c:pt idx="55">
                  <c:v>18.575822127344665</c:v>
                </c:pt>
                <c:pt idx="56">
                  <c:v>18.137961806185142</c:v>
                </c:pt>
                <c:pt idx="57">
                  <c:v>17.705826650982534</c:v>
                </c:pt>
                <c:pt idx="58">
                  <c:v>17.278851862678298</c:v>
                </c:pt>
                <c:pt idx="59">
                  <c:v>16.858316458535661</c:v>
                </c:pt>
                <c:pt idx="60">
                  <c:v>16.443719762062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9.211547231147229</c:v>
                </c:pt>
                <c:pt idx="32">
                  <c:v>28.676914335911519</c:v>
                </c:pt>
                <c:pt idx="33">
                  <c:v>28.185114226174264</c:v>
                </c:pt>
                <c:pt idx="34">
                  <c:v>27.746786888188755</c:v>
                </c:pt>
                <c:pt idx="35">
                  <c:v>27.36153511611797</c:v>
                </c:pt>
                <c:pt idx="36">
                  <c:v>27.02492652167777</c:v>
                </c:pt>
                <c:pt idx="37">
                  <c:v>26.732830086702862</c:v>
                </c:pt>
                <c:pt idx="38">
                  <c:v>26.49507506758011</c:v>
                </c:pt>
                <c:pt idx="39">
                  <c:v>26.288630992224061</c:v>
                </c:pt>
                <c:pt idx="40">
                  <c:v>26.101911476099019</c:v>
                </c:pt>
                <c:pt idx="41">
                  <c:v>25.938177299336161</c:v>
                </c:pt>
                <c:pt idx="42">
                  <c:v>25.787741876307912</c:v>
                </c:pt>
                <c:pt idx="43">
                  <c:v>25.644583137706341</c:v>
                </c:pt>
                <c:pt idx="44">
                  <c:v>25.505550248833398</c:v>
                </c:pt>
                <c:pt idx="45">
                  <c:v>25.369826128663533</c:v>
                </c:pt>
                <c:pt idx="46">
                  <c:v>25.236340399442621</c:v>
                </c:pt>
                <c:pt idx="47">
                  <c:v>25.103930749688047</c:v>
                </c:pt>
                <c:pt idx="48">
                  <c:v>24.970071260520726</c:v>
                </c:pt>
                <c:pt idx="49">
                  <c:v>24.832001164984298</c:v>
                </c:pt>
                <c:pt idx="50">
                  <c:v>24.69124432124276</c:v>
                </c:pt>
                <c:pt idx="51">
                  <c:v>24.547938371536951</c:v>
                </c:pt>
                <c:pt idx="52">
                  <c:v>24.404442337318812</c:v>
                </c:pt>
                <c:pt idx="53">
                  <c:v>24.254957624481005</c:v>
                </c:pt>
                <c:pt idx="54">
                  <c:v>24.100126832906824</c:v>
                </c:pt>
                <c:pt idx="55">
                  <c:v>23.942247687104583</c:v>
                </c:pt>
                <c:pt idx="56">
                  <c:v>23.782880691728746</c:v>
                </c:pt>
                <c:pt idx="57">
                  <c:v>23.622889293795307</c:v>
                </c:pt>
                <c:pt idx="58">
                  <c:v>23.461232278632249</c:v>
                </c:pt>
                <c:pt idx="59">
                  <c:v>23.298822228660974</c:v>
                </c:pt>
                <c:pt idx="60">
                  <c:v>23.1349078068304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9.250345121474034</c:v>
                </c:pt>
                <c:pt idx="32">
                  <c:v>28.789048991665236</c:v>
                </c:pt>
                <c:pt idx="33">
                  <c:v>28.397718427063865</c:v>
                </c:pt>
                <c:pt idx="34">
                  <c:v>28.082129804203333</c:v>
                </c:pt>
                <c:pt idx="35">
                  <c:v>27.849344199446147</c:v>
                </c:pt>
                <c:pt idx="36">
                  <c:v>27.70170126412803</c:v>
                </c:pt>
                <c:pt idx="37">
                  <c:v>27.6403446253262</c:v>
                </c:pt>
                <c:pt idx="38">
                  <c:v>27.678205140470943</c:v>
                </c:pt>
                <c:pt idx="39">
                  <c:v>27.78609711346062</c:v>
                </c:pt>
                <c:pt idx="40">
                  <c:v>27.948914305206099</c:v>
                </c:pt>
                <c:pt idx="41">
                  <c:v>28.171044705938822</c:v>
                </c:pt>
                <c:pt idx="42">
                  <c:v>28.445473855970366</c:v>
                </c:pt>
                <c:pt idx="43">
                  <c:v>28.76551083621537</c:v>
                </c:pt>
                <c:pt idx="44">
                  <c:v>29.125184115764156</c:v>
                </c:pt>
                <c:pt idx="45">
                  <c:v>29.520437546541636</c:v>
                </c:pt>
                <c:pt idx="46">
                  <c:v>29.946716506072249</c:v>
                </c:pt>
                <c:pt idx="47">
                  <c:v>30.401769766331192</c:v>
                </c:pt>
                <c:pt idx="48">
                  <c:v>30.882911303915396</c:v>
                </c:pt>
                <c:pt idx="49">
                  <c:v>31.386480342671419</c:v>
                </c:pt>
                <c:pt idx="50">
                  <c:v>31.911677405828001</c:v>
                </c:pt>
                <c:pt idx="51">
                  <c:v>32.456179539676597</c:v>
                </c:pt>
                <c:pt idx="52">
                  <c:v>33.02027862031246</c:v>
                </c:pt>
                <c:pt idx="53">
                  <c:v>33.597346491593449</c:v>
                </c:pt>
                <c:pt idx="54">
                  <c:v>34.187785954034652</c:v>
                </c:pt>
                <c:pt idx="55">
                  <c:v>34.793351283502759</c:v>
                </c:pt>
                <c:pt idx="56">
                  <c:v>35.414320390375067</c:v>
                </c:pt>
                <c:pt idx="57">
                  <c:v>36.050269035188045</c:v>
                </c:pt>
                <c:pt idx="58">
                  <c:v>36.699356707034276</c:v>
                </c:pt>
                <c:pt idx="59">
                  <c:v>37.362489274016276</c:v>
                </c:pt>
                <c:pt idx="60">
                  <c:v>38.038859325356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28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8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8</c:v>
                </c:pt>
                <c:pt idx="31">
                  <c:v>28</c:v>
                </c:pt>
                <c:pt idx="32">
                  <c:v>28</c:v>
                </c:pt>
                <c:pt idx="33">
                  <c:v>28</c:v>
                </c:pt>
                <c:pt idx="34">
                  <c:v>28</c:v>
                </c:pt>
                <c:pt idx="35">
                  <c:v>28</c:v>
                </c:pt>
                <c:pt idx="36">
                  <c:v>28</c:v>
                </c:pt>
                <c:pt idx="37">
                  <c:v>28</c:v>
                </c:pt>
                <c:pt idx="38">
                  <c:v>28</c:v>
                </c:pt>
                <c:pt idx="39">
                  <c:v>28</c:v>
                </c:pt>
                <c:pt idx="40">
                  <c:v>28</c:v>
                </c:pt>
                <c:pt idx="41">
                  <c:v>28</c:v>
                </c:pt>
                <c:pt idx="42">
                  <c:v>28</c:v>
                </c:pt>
                <c:pt idx="43">
                  <c:v>28</c:v>
                </c:pt>
                <c:pt idx="44">
                  <c:v>28</c:v>
                </c:pt>
                <c:pt idx="45">
                  <c:v>28</c:v>
                </c:pt>
                <c:pt idx="46">
                  <c:v>28</c:v>
                </c:pt>
                <c:pt idx="47">
                  <c:v>28</c:v>
                </c:pt>
                <c:pt idx="48">
                  <c:v>28</c:v>
                </c:pt>
                <c:pt idx="49">
                  <c:v>28</c:v>
                </c:pt>
                <c:pt idx="50">
                  <c:v>28</c:v>
                </c:pt>
                <c:pt idx="51">
                  <c:v>28</c:v>
                </c:pt>
                <c:pt idx="52">
                  <c:v>28</c:v>
                </c:pt>
                <c:pt idx="53">
                  <c:v>28</c:v>
                </c:pt>
                <c:pt idx="54">
                  <c:v>28</c:v>
                </c:pt>
                <c:pt idx="55">
                  <c:v>28</c:v>
                </c:pt>
                <c:pt idx="56">
                  <c:v>28</c:v>
                </c:pt>
                <c:pt idx="57">
                  <c:v>28</c:v>
                </c:pt>
                <c:pt idx="58">
                  <c:v>28</c:v>
                </c:pt>
                <c:pt idx="59">
                  <c:v>28</c:v>
                </c:pt>
                <c:pt idx="60">
                  <c:v>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0</c:v>
                </c:pt>
                <c:pt idx="1">
                  <c:v>116</c:v>
                </c:pt>
                <c:pt idx="2">
                  <c:v>124</c:v>
                </c:pt>
                <c:pt idx="3">
                  <c:v>130</c:v>
                </c:pt>
                <c:pt idx="4">
                  <c:v>130</c:v>
                </c:pt>
                <c:pt idx="5">
                  <c:v>120</c:v>
                </c:pt>
                <c:pt idx="6">
                  <c:v>125</c:v>
                </c:pt>
                <c:pt idx="7">
                  <c:v>131</c:v>
                </c:pt>
                <c:pt idx="8">
                  <c:v>145</c:v>
                </c:pt>
                <c:pt idx="9">
                  <c:v>132</c:v>
                </c:pt>
                <c:pt idx="10">
                  <c:v>128</c:v>
                </c:pt>
                <c:pt idx="11">
                  <c:v>138</c:v>
                </c:pt>
                <c:pt idx="12">
                  <c:v>139</c:v>
                </c:pt>
                <c:pt idx="13">
                  <c:v>140</c:v>
                </c:pt>
                <c:pt idx="14">
                  <c:v>156</c:v>
                </c:pt>
                <c:pt idx="15">
                  <c:v>157</c:v>
                </c:pt>
                <c:pt idx="16">
                  <c:v>152</c:v>
                </c:pt>
                <c:pt idx="17">
                  <c:v>148</c:v>
                </c:pt>
                <c:pt idx="18">
                  <c:v>144</c:v>
                </c:pt>
                <c:pt idx="19">
                  <c:v>146</c:v>
                </c:pt>
                <c:pt idx="20">
                  <c:v>141</c:v>
                </c:pt>
                <c:pt idx="21">
                  <c:v>155</c:v>
                </c:pt>
                <c:pt idx="22">
                  <c:v>150</c:v>
                </c:pt>
                <c:pt idx="23">
                  <c:v>158</c:v>
                </c:pt>
                <c:pt idx="24">
                  <c:v>162</c:v>
                </c:pt>
                <c:pt idx="25">
                  <c:v>158</c:v>
                </c:pt>
                <c:pt idx="26">
                  <c:v>153</c:v>
                </c:pt>
                <c:pt idx="27">
                  <c:v>147</c:v>
                </c:pt>
                <c:pt idx="28">
                  <c:v>155</c:v>
                </c:pt>
                <c:pt idx="29">
                  <c:v>158</c:v>
                </c:pt>
                <c:pt idx="30">
                  <c:v>144</c:v>
                </c:pt>
                <c:pt idx="31">
                  <c:v>138</c:v>
                </c:pt>
                <c:pt idx="32">
                  <c:v>137</c:v>
                </c:pt>
                <c:pt idx="33">
                  <c:v>108</c:v>
                </c:pt>
                <c:pt idx="34">
                  <c:v>111</c:v>
                </c:pt>
                <c:pt idx="35">
                  <c:v>106</c:v>
                </c:pt>
                <c:pt idx="36">
                  <c:v>129</c:v>
                </c:pt>
                <c:pt idx="37">
                  <c:v>136</c:v>
                </c:pt>
                <c:pt idx="38">
                  <c:v>122</c:v>
                </c:pt>
                <c:pt idx="39">
                  <c:v>105</c:v>
                </c:pt>
                <c:pt idx="40">
                  <c:v>110</c:v>
                </c:pt>
                <c:pt idx="41">
                  <c:v>114</c:v>
                </c:pt>
                <c:pt idx="42">
                  <c:v>124</c:v>
                </c:pt>
                <c:pt idx="43">
                  <c:v>122</c:v>
                </c:pt>
                <c:pt idx="44">
                  <c:v>121</c:v>
                </c:pt>
                <c:pt idx="45">
                  <c:v>109</c:v>
                </c:pt>
                <c:pt idx="46">
                  <c:v>108</c:v>
                </c:pt>
                <c:pt idx="47">
                  <c:v>108</c:v>
                </c:pt>
                <c:pt idx="48">
                  <c:v>103</c:v>
                </c:pt>
                <c:pt idx="49">
                  <c:v>115</c:v>
                </c:pt>
                <c:pt idx="50">
                  <c:v>112</c:v>
                </c:pt>
                <c:pt idx="51">
                  <c:v>106</c:v>
                </c:pt>
                <c:pt idx="52">
                  <c:v>100</c:v>
                </c:pt>
                <c:pt idx="53">
                  <c:v>96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46.08580359649605</c:v>
                </c:pt>
                <c:pt idx="32">
                  <c:v>142.79981295375114</c:v>
                </c:pt>
                <c:pt idx="33">
                  <c:v>139.55292312136177</c:v>
                </c:pt>
                <c:pt idx="34">
                  <c:v>136.44813515681585</c:v>
                </c:pt>
                <c:pt idx="35">
                  <c:v>133.45246176163599</c:v>
                </c:pt>
                <c:pt idx="36">
                  <c:v>130.50484746524228</c:v>
                </c:pt>
                <c:pt idx="37">
                  <c:v>127.59374139348694</c:v>
                </c:pt>
                <c:pt idx="38">
                  <c:v>124.73498568532025</c:v>
                </c:pt>
                <c:pt idx="39">
                  <c:v>121.85070658316774</c:v>
                </c:pt>
                <c:pt idx="40">
                  <c:v>118.9095116290319</c:v>
                </c:pt>
                <c:pt idx="41">
                  <c:v>115.96033119391967</c:v>
                </c:pt>
                <c:pt idx="42">
                  <c:v>112.95755722033782</c:v>
                </c:pt>
                <c:pt idx="43">
                  <c:v>109.8806913849707</c:v>
                </c:pt>
                <c:pt idx="44">
                  <c:v>106.73616468697446</c:v>
                </c:pt>
                <c:pt idx="45">
                  <c:v>103.54643049473727</c:v>
                </c:pt>
                <c:pt idx="46">
                  <c:v>100.34456709792278</c:v>
                </c:pt>
                <c:pt idx="47">
                  <c:v>97.138988392184388</c:v>
                </c:pt>
                <c:pt idx="48">
                  <c:v>93.9246551631675</c:v>
                </c:pt>
                <c:pt idx="49">
                  <c:v>90.7044704245736</c:v>
                </c:pt>
                <c:pt idx="50">
                  <c:v>87.502641006430366</c:v>
                </c:pt>
                <c:pt idx="51">
                  <c:v>84.332213391990976</c:v>
                </c:pt>
                <c:pt idx="52">
                  <c:v>81.221191157675094</c:v>
                </c:pt>
                <c:pt idx="53">
                  <c:v>78.148696527750673</c:v>
                </c:pt>
                <c:pt idx="54">
                  <c:v>75.1281485574832</c:v>
                </c:pt>
                <c:pt idx="55">
                  <c:v>72.169660698712619</c:v>
                </c:pt>
                <c:pt idx="56">
                  <c:v>69.28387858271347</c:v>
                </c:pt>
                <c:pt idx="57">
                  <c:v>66.481909475398908</c:v>
                </c:pt>
                <c:pt idx="58">
                  <c:v>63.764466522238486</c:v>
                </c:pt>
                <c:pt idx="59">
                  <c:v>61.138032267391715</c:v>
                </c:pt>
                <c:pt idx="60">
                  <c:v>58.598967063664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46.20886156412777</c:v>
                </c:pt>
                <c:pt idx="32">
                  <c:v>143.15531309127073</c:v>
                </c:pt>
                <c:pt idx="33">
                  <c:v>140.2281125119955</c:v>
                </c:pt>
                <c:pt idx="34">
                  <c:v>137.51443319870742</c:v>
                </c:pt>
                <c:pt idx="35">
                  <c:v>134.99100268545061</c:v>
                </c:pt>
                <c:pt idx="36">
                  <c:v>132.60740463726864</c:v>
                </c:pt>
                <c:pt idx="37">
                  <c:v>130.36011047245267</c:v>
                </c:pt>
                <c:pt idx="38">
                  <c:v>128.26696261823764</c:v>
                </c:pt>
                <c:pt idx="39">
                  <c:v>126.23109882164076</c:v>
                </c:pt>
                <c:pt idx="40">
                  <c:v>124.20484941102265</c:v>
                </c:pt>
                <c:pt idx="41">
                  <c:v>122.22946273285555</c:v>
                </c:pt>
                <c:pt idx="42">
                  <c:v>120.25131502176419</c:v>
                </c:pt>
                <c:pt idx="43">
                  <c:v>118.23921608209477</c:v>
                </c:pt>
                <c:pt idx="44">
                  <c:v>116.1876007654277</c:v>
                </c:pt>
                <c:pt idx="45">
                  <c:v>114.10596038661542</c:v>
                </c:pt>
                <c:pt idx="46">
                  <c:v>112.01204317988049</c:v>
                </c:pt>
                <c:pt idx="47">
                  <c:v>109.90407686687601</c:v>
                </c:pt>
                <c:pt idx="48">
                  <c:v>107.76910497938951</c:v>
                </c:pt>
                <c:pt idx="49">
                  <c:v>105.60369712671954</c:v>
                </c:pt>
                <c:pt idx="50">
                  <c:v>103.42547634544788</c:v>
                </c:pt>
                <c:pt idx="51">
                  <c:v>101.23965380553393</c:v>
                </c:pt>
                <c:pt idx="52">
                  <c:v>99.067822868488349</c:v>
                </c:pt>
                <c:pt idx="53">
                  <c:v>96.884550360995519</c:v>
                </c:pt>
                <c:pt idx="54">
                  <c:v>94.701240442659412</c:v>
                </c:pt>
                <c:pt idx="55">
                  <c:v>92.526684093207578</c:v>
                </c:pt>
                <c:pt idx="56">
                  <c:v>90.369581765363506</c:v>
                </c:pt>
                <c:pt idx="57">
                  <c:v>88.240076972253405</c:v>
                </c:pt>
                <c:pt idx="58">
                  <c:v>86.138749823119397</c:v>
                </c:pt>
                <c:pt idx="59">
                  <c:v>84.072185032314962</c:v>
                </c:pt>
                <c:pt idx="60">
                  <c:v>82.0377974600304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46.33191953175952</c:v>
                </c:pt>
                <c:pt idx="32">
                  <c:v>143.5112002035313</c:v>
                </c:pt>
                <c:pt idx="33">
                  <c:v>140.90458045861456</c:v>
                </c:pt>
                <c:pt idx="34">
                  <c:v>138.58270860168301</c:v>
                </c:pt>
                <c:pt idx="35">
                  <c:v>136.53844032041644</c:v>
                </c:pt>
                <c:pt idx="36">
                  <c:v>134.7370021596092</c:v>
                </c:pt>
                <c:pt idx="37">
                  <c:v>133.18775720660318</c:v>
                </c:pt>
                <c:pt idx="38">
                  <c:v>131.91387826324973</c:v>
                </c:pt>
                <c:pt idx="39">
                  <c:v>130.7998707214478</c:v>
                </c:pt>
                <c:pt idx="40">
                  <c:v>129.78245979408612</c:v>
                </c:pt>
                <c:pt idx="41">
                  <c:v>128.89955098031382</c:v>
                </c:pt>
                <c:pt idx="42">
                  <c:v>128.09526721778647</c:v>
                </c:pt>
                <c:pt idx="43">
                  <c:v>127.33246866121482</c:v>
                </c:pt>
                <c:pt idx="44">
                  <c:v>126.5933666916316</c:v>
                </c:pt>
                <c:pt idx="45">
                  <c:v>125.87478253150934</c:v>
                </c:pt>
                <c:pt idx="46">
                  <c:v>125.18005341613966</c:v>
                </c:pt>
                <c:pt idx="47">
                  <c:v>124.49800850063072</c:v>
                </c:pt>
                <c:pt idx="48">
                  <c:v>123.80950067295768</c:v>
                </c:pt>
                <c:pt idx="49">
                  <c:v>123.10541970393616</c:v>
                </c:pt>
                <c:pt idx="50">
                  <c:v>122.39429203452048</c:v>
                </c:pt>
                <c:pt idx="51">
                  <c:v>121.67234597103314</c:v>
                </c:pt>
                <c:pt idx="52">
                  <c:v>120.9535639931666</c:v>
                </c:pt>
                <c:pt idx="53">
                  <c:v>120.20707039863036</c:v>
                </c:pt>
                <c:pt idx="54">
                  <c:v>119.44067086817364</c:v>
                </c:pt>
                <c:pt idx="55">
                  <c:v>118.65971608385533</c:v>
                </c:pt>
                <c:pt idx="56">
                  <c:v>117.8693192588818</c:v>
                </c:pt>
                <c:pt idx="57">
                  <c:v>117.07589153945338</c:v>
                </c:pt>
                <c:pt idx="58">
                  <c:v>116.27758352204384</c:v>
                </c:pt>
                <c:pt idx="59">
                  <c:v>115.47901270669445</c:v>
                </c:pt>
                <c:pt idx="60">
                  <c:v>114.67625750204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46.51689345794807</c:v>
                </c:pt>
                <c:pt idx="32">
                  <c:v>144.04534199105498</c:v>
                </c:pt>
                <c:pt idx="33">
                  <c:v>141.91883729914582</c:v>
                </c:pt>
                <c:pt idx="34">
                  <c:v>140.18389263173864</c:v>
                </c:pt>
                <c:pt idx="35">
                  <c:v>138.86889974277938</c:v>
                </c:pt>
                <c:pt idx="36">
                  <c:v>137.97375798777017</c:v>
                </c:pt>
                <c:pt idx="37">
                  <c:v>137.53469126249104</c:v>
                </c:pt>
                <c:pt idx="38">
                  <c:v>137.58985105050488</c:v>
                </c:pt>
                <c:pt idx="39">
                  <c:v>137.99398256596317</c:v>
                </c:pt>
                <c:pt idx="40">
                  <c:v>138.6678601144356</c:v>
                </c:pt>
                <c:pt idx="41">
                  <c:v>139.65499513134492</c:v>
                </c:pt>
                <c:pt idx="42">
                  <c:v>140.91135735807381</c:v>
                </c:pt>
                <c:pt idx="43">
                  <c:v>142.3972156474006</c:v>
                </c:pt>
                <c:pt idx="44">
                  <c:v>144.08175461923065</c:v>
                </c:pt>
                <c:pt idx="45">
                  <c:v>145.94615051334654</c:v>
                </c:pt>
                <c:pt idx="46">
                  <c:v>147.97638052788977</c:v>
                </c:pt>
                <c:pt idx="47">
                  <c:v>150.15573451702693</c:v>
                </c:pt>
                <c:pt idx="48">
                  <c:v>152.46421341184299</c:v>
                </c:pt>
                <c:pt idx="49">
                  <c:v>154.88836600283548</c:v>
                </c:pt>
                <c:pt idx="50">
                  <c:v>157.42549260797523</c:v>
                </c:pt>
                <c:pt idx="51">
                  <c:v>160.05984087635844</c:v>
                </c:pt>
                <c:pt idx="52">
                  <c:v>162.79529152957414</c:v>
                </c:pt>
                <c:pt idx="53">
                  <c:v>165.59678156266801</c:v>
                </c:pt>
                <c:pt idx="54">
                  <c:v>168.4706874558961</c:v>
                </c:pt>
                <c:pt idx="55">
                  <c:v>171.41941678224356</c:v>
                </c:pt>
                <c:pt idx="56">
                  <c:v>174.44195252234769</c:v>
                </c:pt>
                <c:pt idx="57">
                  <c:v>177.53853303861382</c:v>
                </c:pt>
                <c:pt idx="58">
                  <c:v>180.70327175745228</c:v>
                </c:pt>
                <c:pt idx="59">
                  <c:v>183.94045443391127</c:v>
                </c:pt>
                <c:pt idx="60">
                  <c:v>187.245721673127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4</c:v>
                </c:pt>
                <c:pt idx="1">
                  <c:v>104</c:v>
                </c:pt>
                <c:pt idx="2">
                  <c:v>104</c:v>
                </c:pt>
                <c:pt idx="3">
                  <c:v>104</c:v>
                </c:pt>
                <c:pt idx="4">
                  <c:v>104</c:v>
                </c:pt>
                <c:pt idx="5">
                  <c:v>104</c:v>
                </c:pt>
                <c:pt idx="6">
                  <c:v>104</c:v>
                </c:pt>
                <c:pt idx="7">
                  <c:v>104</c:v>
                </c:pt>
                <c:pt idx="8">
                  <c:v>104</c:v>
                </c:pt>
                <c:pt idx="9">
                  <c:v>104</c:v>
                </c:pt>
                <c:pt idx="10">
                  <c:v>104</c:v>
                </c:pt>
                <c:pt idx="11">
                  <c:v>104</c:v>
                </c:pt>
                <c:pt idx="12">
                  <c:v>104</c:v>
                </c:pt>
                <c:pt idx="13">
                  <c:v>104</c:v>
                </c:pt>
                <c:pt idx="14">
                  <c:v>104</c:v>
                </c:pt>
                <c:pt idx="15">
                  <c:v>104</c:v>
                </c:pt>
                <c:pt idx="16">
                  <c:v>104</c:v>
                </c:pt>
                <c:pt idx="17">
                  <c:v>104</c:v>
                </c:pt>
                <c:pt idx="18">
                  <c:v>104</c:v>
                </c:pt>
                <c:pt idx="19">
                  <c:v>104</c:v>
                </c:pt>
                <c:pt idx="20">
                  <c:v>104</c:v>
                </c:pt>
                <c:pt idx="21">
                  <c:v>104</c:v>
                </c:pt>
                <c:pt idx="22">
                  <c:v>104</c:v>
                </c:pt>
                <c:pt idx="23">
                  <c:v>104</c:v>
                </c:pt>
                <c:pt idx="24">
                  <c:v>104</c:v>
                </c:pt>
                <c:pt idx="25">
                  <c:v>104</c:v>
                </c:pt>
                <c:pt idx="26">
                  <c:v>104</c:v>
                </c:pt>
                <c:pt idx="27">
                  <c:v>104</c:v>
                </c:pt>
                <c:pt idx="28">
                  <c:v>104</c:v>
                </c:pt>
                <c:pt idx="29">
                  <c:v>104</c:v>
                </c:pt>
                <c:pt idx="30">
                  <c:v>104</c:v>
                </c:pt>
                <c:pt idx="31">
                  <c:v>104</c:v>
                </c:pt>
                <c:pt idx="32">
                  <c:v>104</c:v>
                </c:pt>
                <c:pt idx="33">
                  <c:v>104</c:v>
                </c:pt>
                <c:pt idx="34">
                  <c:v>104</c:v>
                </c:pt>
                <c:pt idx="35">
                  <c:v>104</c:v>
                </c:pt>
                <c:pt idx="36">
                  <c:v>104</c:v>
                </c:pt>
                <c:pt idx="37">
                  <c:v>104</c:v>
                </c:pt>
                <c:pt idx="38">
                  <c:v>104</c:v>
                </c:pt>
                <c:pt idx="39">
                  <c:v>104</c:v>
                </c:pt>
                <c:pt idx="40">
                  <c:v>104</c:v>
                </c:pt>
                <c:pt idx="41">
                  <c:v>104</c:v>
                </c:pt>
                <c:pt idx="42">
                  <c:v>104</c:v>
                </c:pt>
                <c:pt idx="43">
                  <c:v>104</c:v>
                </c:pt>
                <c:pt idx="44">
                  <c:v>104</c:v>
                </c:pt>
                <c:pt idx="45">
                  <c:v>104</c:v>
                </c:pt>
                <c:pt idx="46">
                  <c:v>104</c:v>
                </c:pt>
                <c:pt idx="47">
                  <c:v>104</c:v>
                </c:pt>
                <c:pt idx="48">
                  <c:v>104</c:v>
                </c:pt>
                <c:pt idx="49">
                  <c:v>104</c:v>
                </c:pt>
                <c:pt idx="50">
                  <c:v>104</c:v>
                </c:pt>
                <c:pt idx="51">
                  <c:v>104</c:v>
                </c:pt>
                <c:pt idx="52">
                  <c:v>104</c:v>
                </c:pt>
                <c:pt idx="53">
                  <c:v>104</c:v>
                </c:pt>
                <c:pt idx="54">
                  <c:v>104</c:v>
                </c:pt>
                <c:pt idx="55">
                  <c:v>104</c:v>
                </c:pt>
                <c:pt idx="56">
                  <c:v>104</c:v>
                </c:pt>
                <c:pt idx="57">
                  <c:v>104</c:v>
                </c:pt>
                <c:pt idx="58">
                  <c:v>104</c:v>
                </c:pt>
                <c:pt idx="59">
                  <c:v>104</c:v>
                </c:pt>
                <c:pt idx="60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4</c:v>
                </c:pt>
                <c:pt idx="1">
                  <c:v>102</c:v>
                </c:pt>
                <c:pt idx="2">
                  <c:v>104</c:v>
                </c:pt>
                <c:pt idx="3">
                  <c:v>103</c:v>
                </c:pt>
                <c:pt idx="4">
                  <c:v>100</c:v>
                </c:pt>
                <c:pt idx="5">
                  <c:v>97</c:v>
                </c:pt>
                <c:pt idx="6">
                  <c:v>93</c:v>
                </c:pt>
                <c:pt idx="7">
                  <c:v>106</c:v>
                </c:pt>
                <c:pt idx="8">
                  <c:v>125</c:v>
                </c:pt>
                <c:pt idx="9">
                  <c:v>122</c:v>
                </c:pt>
                <c:pt idx="10">
                  <c:v>128</c:v>
                </c:pt>
                <c:pt idx="11">
                  <c:v>113</c:v>
                </c:pt>
                <c:pt idx="12">
                  <c:v>108</c:v>
                </c:pt>
                <c:pt idx="13">
                  <c:v>115</c:v>
                </c:pt>
                <c:pt idx="14">
                  <c:v>110</c:v>
                </c:pt>
                <c:pt idx="15">
                  <c:v>111</c:v>
                </c:pt>
                <c:pt idx="16">
                  <c:v>108</c:v>
                </c:pt>
                <c:pt idx="17">
                  <c:v>110</c:v>
                </c:pt>
                <c:pt idx="18">
                  <c:v>104</c:v>
                </c:pt>
                <c:pt idx="19">
                  <c:v>98</c:v>
                </c:pt>
                <c:pt idx="20">
                  <c:v>105</c:v>
                </c:pt>
                <c:pt idx="21">
                  <c:v>103</c:v>
                </c:pt>
                <c:pt idx="22">
                  <c:v>98</c:v>
                </c:pt>
                <c:pt idx="23">
                  <c:v>95</c:v>
                </c:pt>
                <c:pt idx="24">
                  <c:v>94</c:v>
                </c:pt>
                <c:pt idx="25">
                  <c:v>85</c:v>
                </c:pt>
                <c:pt idx="26">
                  <c:v>81</c:v>
                </c:pt>
                <c:pt idx="27">
                  <c:v>87</c:v>
                </c:pt>
                <c:pt idx="28">
                  <c:v>88</c:v>
                </c:pt>
                <c:pt idx="29">
                  <c:v>80</c:v>
                </c:pt>
                <c:pt idx="30">
                  <c:v>81</c:v>
                </c:pt>
                <c:pt idx="31">
                  <c:v>77</c:v>
                </c:pt>
                <c:pt idx="32">
                  <c:v>77</c:v>
                </c:pt>
                <c:pt idx="33">
                  <c:v>79</c:v>
                </c:pt>
                <c:pt idx="34">
                  <c:v>81</c:v>
                </c:pt>
                <c:pt idx="35">
                  <c:v>81</c:v>
                </c:pt>
                <c:pt idx="36">
                  <c:v>78</c:v>
                </c:pt>
                <c:pt idx="37">
                  <c:v>79</c:v>
                </c:pt>
                <c:pt idx="38">
                  <c:v>77</c:v>
                </c:pt>
                <c:pt idx="39">
                  <c:v>78</c:v>
                </c:pt>
                <c:pt idx="40">
                  <c:v>73</c:v>
                </c:pt>
                <c:pt idx="41">
                  <c:v>73</c:v>
                </c:pt>
                <c:pt idx="42">
                  <c:v>68</c:v>
                </c:pt>
                <c:pt idx="43">
                  <c:v>66</c:v>
                </c:pt>
                <c:pt idx="44">
                  <c:v>64</c:v>
                </c:pt>
                <c:pt idx="45">
                  <c:v>63</c:v>
                </c:pt>
                <c:pt idx="46">
                  <c:v>60</c:v>
                </c:pt>
                <c:pt idx="47">
                  <c:v>54</c:v>
                </c:pt>
                <c:pt idx="48">
                  <c:v>49</c:v>
                </c:pt>
                <c:pt idx="49">
                  <c:v>44</c:v>
                </c:pt>
                <c:pt idx="50">
                  <c:v>41</c:v>
                </c:pt>
                <c:pt idx="51">
                  <c:v>41</c:v>
                </c:pt>
                <c:pt idx="52">
                  <c:v>36</c:v>
                </c:pt>
                <c:pt idx="53">
                  <c:v>34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7.319983060351177</c:v>
                </c:pt>
                <c:pt idx="32">
                  <c:v>75.637400520641791</c:v>
                </c:pt>
                <c:pt idx="33">
                  <c:v>73.972545091611437</c:v>
                </c:pt>
                <c:pt idx="34">
                  <c:v>72.371768335474002</c:v>
                </c:pt>
                <c:pt idx="35">
                  <c:v>70.819438273295276</c:v>
                </c:pt>
                <c:pt idx="36">
                  <c:v>69.290256330573712</c:v>
                </c:pt>
                <c:pt idx="37">
                  <c:v>67.764240343527334</c:v>
                </c:pt>
                <c:pt idx="38">
                  <c:v>66.262194097495879</c:v>
                </c:pt>
                <c:pt idx="39">
                  <c:v>64.74356329835247</c:v>
                </c:pt>
                <c:pt idx="40">
                  <c:v>63.195373123971294</c:v>
                </c:pt>
                <c:pt idx="41">
                  <c:v>61.633404803005689</c:v>
                </c:pt>
                <c:pt idx="42">
                  <c:v>60.036414740744775</c:v>
                </c:pt>
                <c:pt idx="43">
                  <c:v>58.397453540512615</c:v>
                </c:pt>
                <c:pt idx="44">
                  <c:v>56.721557056608631</c:v>
                </c:pt>
                <c:pt idx="45">
                  <c:v>55.020521985938224</c:v>
                </c:pt>
                <c:pt idx="46">
                  <c:v>53.307781671667655</c:v>
                </c:pt>
                <c:pt idx="47">
                  <c:v>51.59038264852196</c:v>
                </c:pt>
                <c:pt idx="48">
                  <c:v>49.868868338566664</c:v>
                </c:pt>
                <c:pt idx="49">
                  <c:v>48.142612213054683</c:v>
                </c:pt>
                <c:pt idx="50">
                  <c:v>46.424131500186533</c:v>
                </c:pt>
                <c:pt idx="51">
                  <c:v>44.722650547327589</c:v>
                </c:pt>
                <c:pt idx="52">
                  <c:v>43.052084552133792</c:v>
                </c:pt>
                <c:pt idx="53">
                  <c:v>41.402280574255236</c:v>
                </c:pt>
                <c:pt idx="54">
                  <c:v>39.778003365518842</c:v>
                </c:pt>
                <c:pt idx="55">
                  <c:v>38.187363460461363</c:v>
                </c:pt>
                <c:pt idx="56">
                  <c:v>36.63737496342933</c:v>
                </c:pt>
                <c:pt idx="57">
                  <c:v>35.133002380754505</c:v>
                </c:pt>
                <c:pt idx="58">
                  <c:v>33.672928257818675</c:v>
                </c:pt>
                <c:pt idx="59">
                  <c:v>32.260422539709381</c:v>
                </c:pt>
                <c:pt idx="60">
                  <c:v>30.893529806106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7.38811411884349</c:v>
                </c:pt>
                <c:pt idx="32">
                  <c:v>75.83438239319625</c:v>
                </c:pt>
                <c:pt idx="33">
                  <c:v>74.346149649780997</c:v>
                </c:pt>
                <c:pt idx="34">
                  <c:v>72.961321286585985</c:v>
                </c:pt>
                <c:pt idx="35">
                  <c:v>71.669652137280849</c:v>
                </c:pt>
                <c:pt idx="36">
                  <c:v>70.450914246552273</c:v>
                </c:pt>
                <c:pt idx="37">
                  <c:v>69.289051996612116</c:v>
                </c:pt>
                <c:pt idx="38">
                  <c:v>68.205936489445833</c:v>
                </c:pt>
                <c:pt idx="39">
                  <c:v>67.150660964313261</c:v>
                </c:pt>
                <c:pt idx="40">
                  <c:v>66.101087738324509</c:v>
                </c:pt>
                <c:pt idx="41">
                  <c:v>65.068792979764311</c:v>
                </c:pt>
                <c:pt idx="42">
                  <c:v>64.028569639972289</c:v>
                </c:pt>
                <c:pt idx="43">
                  <c:v>62.96750899167705</c:v>
                </c:pt>
                <c:pt idx="44">
                  <c:v>61.883992014253053</c:v>
                </c:pt>
                <c:pt idx="45">
                  <c:v>60.782795528647924</c:v>
                </c:pt>
                <c:pt idx="46">
                  <c:v>59.669180999596449</c:v>
                </c:pt>
                <c:pt idx="47">
                  <c:v>58.54480221142699</c:v>
                </c:pt>
                <c:pt idx="48">
                  <c:v>57.405967835755561</c:v>
                </c:pt>
                <c:pt idx="49">
                  <c:v>56.248648902917274</c:v>
                </c:pt>
                <c:pt idx="50">
                  <c:v>55.081851193992193</c:v>
                </c:pt>
                <c:pt idx="51">
                  <c:v>53.910581743924965</c:v>
                </c:pt>
                <c:pt idx="52">
                  <c:v>52.745302319151527</c:v>
                </c:pt>
                <c:pt idx="53">
                  <c:v>51.573446077872198</c:v>
                </c:pt>
                <c:pt idx="54">
                  <c:v>50.398795749043536</c:v>
                </c:pt>
                <c:pt idx="55">
                  <c:v>49.22888438184615</c:v>
                </c:pt>
                <c:pt idx="56">
                  <c:v>48.069667268271857</c:v>
                </c:pt>
                <c:pt idx="57">
                  <c:v>46.925577241059642</c:v>
                </c:pt>
                <c:pt idx="58">
                  <c:v>45.795285430427519</c:v>
                </c:pt>
                <c:pt idx="59">
                  <c:v>44.682192021172597</c:v>
                </c:pt>
                <c:pt idx="60">
                  <c:v>43.5849656246802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7.456245177335802</c:v>
                </c:pt>
                <c:pt idx="32">
                  <c:v>76.031578514362337</c:v>
                </c:pt>
                <c:pt idx="33">
                  <c:v>74.720462581187306</c:v>
                </c:pt>
                <c:pt idx="34">
                  <c:v>73.551968538318619</c:v>
                </c:pt>
                <c:pt idx="35">
                  <c:v>72.524788072570175</c:v>
                </c:pt>
                <c:pt idx="36">
                  <c:v>71.626546348745876</c:v>
                </c:pt>
                <c:pt idx="37">
                  <c:v>70.847777221411832</c:v>
                </c:pt>
                <c:pt idx="38">
                  <c:v>70.213253594891739</c:v>
                </c:pt>
                <c:pt idx="39">
                  <c:v>69.661902491804767</c:v>
                </c:pt>
                <c:pt idx="40">
                  <c:v>69.16274285425898</c:v>
                </c:pt>
                <c:pt idx="41">
                  <c:v>68.725488385397952</c:v>
                </c:pt>
                <c:pt idx="42">
                  <c:v>68.324090589432302</c:v>
                </c:pt>
                <c:pt idx="43">
                  <c:v>67.942236482805555</c:v>
                </c:pt>
                <c:pt idx="44">
                  <c:v>67.571472209819177</c:v>
                </c:pt>
                <c:pt idx="45">
                  <c:v>67.209676477230374</c:v>
                </c:pt>
                <c:pt idx="46">
                  <c:v>66.854441630266308</c:v>
                </c:pt>
                <c:pt idx="47">
                  <c:v>66.502421038022504</c:v>
                </c:pt>
                <c:pt idx="48">
                  <c:v>66.146595692291925</c:v>
                </c:pt>
                <c:pt idx="49">
                  <c:v>65.779878814018801</c:v>
                </c:pt>
                <c:pt idx="50">
                  <c:v>65.406355195144073</c:v>
                </c:pt>
                <c:pt idx="51">
                  <c:v>65.026169019665616</c:v>
                </c:pt>
                <c:pt idx="52">
                  <c:v>64.645682537027895</c:v>
                </c:pt>
                <c:pt idx="53">
                  <c:v>64.2494299299792</c:v>
                </c:pt>
                <c:pt idx="54">
                  <c:v>63.83934208395506</c:v>
                </c:pt>
                <c:pt idx="55">
                  <c:v>63.421206727468778</c:v>
                </c:pt>
                <c:pt idx="56">
                  <c:v>62.999027818387006</c:v>
                </c:pt>
                <c:pt idx="57">
                  <c:v>62.57519806631484</c:v>
                </c:pt>
                <c:pt idx="58">
                  <c:v>62.1471232294396</c:v>
                </c:pt>
                <c:pt idx="59">
                  <c:v>61.717225354777469</c:v>
                </c:pt>
                <c:pt idx="60">
                  <c:v>61.283504412993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7.558656013685862</c:v>
                </c:pt>
                <c:pt idx="32">
                  <c:v>76.327545447819176</c:v>
                </c:pt>
                <c:pt idx="33">
                  <c:v>75.281683843048768</c:v>
                </c:pt>
                <c:pt idx="34">
                  <c:v>74.437257509911021</c:v>
                </c:pt>
                <c:pt idx="35">
                  <c:v>73.812643901249842</c:v>
                </c:pt>
                <c:pt idx="36">
                  <c:v>73.413461738812913</c:v>
                </c:pt>
                <c:pt idx="37">
                  <c:v>73.24425260915821</c:v>
                </c:pt>
                <c:pt idx="38">
                  <c:v>73.337985869062948</c:v>
                </c:pt>
                <c:pt idx="39">
                  <c:v>73.617320717369807</c:v>
                </c:pt>
                <c:pt idx="40">
                  <c:v>74.042026193648724</c:v>
                </c:pt>
                <c:pt idx="41">
                  <c:v>74.624802855201295</c:v>
                </c:pt>
                <c:pt idx="42">
                  <c:v>75.346611355409081</c:v>
                </c:pt>
                <c:pt idx="43">
                  <c:v>76.189402787446255</c:v>
                </c:pt>
                <c:pt idx="44">
                  <c:v>77.137298639863957</c:v>
                </c:pt>
                <c:pt idx="45">
                  <c:v>78.179617771825093</c:v>
                </c:pt>
                <c:pt idx="46">
                  <c:v>79.304718482260995</c:v>
                </c:pt>
                <c:pt idx="47">
                  <c:v>80.506362628173221</c:v>
                </c:pt>
                <c:pt idx="48">
                  <c:v>81.777104203099739</c:v>
                </c:pt>
                <c:pt idx="49">
                  <c:v>83.107478287458491</c:v>
                </c:pt>
                <c:pt idx="50">
                  <c:v>84.495429612732892</c:v>
                </c:pt>
                <c:pt idx="51">
                  <c:v>85.934595033419185</c:v>
                </c:pt>
                <c:pt idx="52">
                  <c:v>87.425868172960108</c:v>
                </c:pt>
                <c:pt idx="53">
                  <c:v>88.951582009341053</c:v>
                </c:pt>
                <c:pt idx="54">
                  <c:v>90.513020303664319</c:v>
                </c:pt>
                <c:pt idx="55">
                  <c:v>92.114518870788416</c:v>
                </c:pt>
                <c:pt idx="56">
                  <c:v>93.756695378032873</c:v>
                </c:pt>
                <c:pt idx="57">
                  <c:v>95.438541898739402</c:v>
                </c:pt>
                <c:pt idx="58">
                  <c:v>97.15534316472494</c:v>
                </c:pt>
                <c:pt idx="59">
                  <c:v>98.909488666194335</c:v>
                </c:pt>
                <c:pt idx="60">
                  <c:v>100.698821925470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0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60</c:v>
                </c:pt>
                <c:pt idx="9">
                  <c:v>60</c:v>
                </c:pt>
                <c:pt idx="10">
                  <c:v>60</c:v>
                </c:pt>
                <c:pt idx="11">
                  <c:v>60</c:v>
                </c:pt>
                <c:pt idx="12">
                  <c:v>60</c:v>
                </c:pt>
                <c:pt idx="13">
                  <c:v>60</c:v>
                </c:pt>
                <c:pt idx="14">
                  <c:v>60</c:v>
                </c:pt>
                <c:pt idx="15">
                  <c:v>60</c:v>
                </c:pt>
                <c:pt idx="16">
                  <c:v>60</c:v>
                </c:pt>
                <c:pt idx="17">
                  <c:v>60</c:v>
                </c:pt>
                <c:pt idx="18">
                  <c:v>60</c:v>
                </c:pt>
                <c:pt idx="19">
                  <c:v>60</c:v>
                </c:pt>
                <c:pt idx="20">
                  <c:v>60</c:v>
                </c:pt>
                <c:pt idx="21">
                  <c:v>60</c:v>
                </c:pt>
                <c:pt idx="22">
                  <c:v>60</c:v>
                </c:pt>
                <c:pt idx="23">
                  <c:v>60</c:v>
                </c:pt>
                <c:pt idx="24">
                  <c:v>60</c:v>
                </c:pt>
                <c:pt idx="25">
                  <c:v>60</c:v>
                </c:pt>
                <c:pt idx="26">
                  <c:v>60</c:v>
                </c:pt>
                <c:pt idx="27">
                  <c:v>60</c:v>
                </c:pt>
                <c:pt idx="28">
                  <c:v>60</c:v>
                </c:pt>
                <c:pt idx="29">
                  <c:v>60</c:v>
                </c:pt>
                <c:pt idx="30">
                  <c:v>60</c:v>
                </c:pt>
                <c:pt idx="31">
                  <c:v>60</c:v>
                </c:pt>
                <c:pt idx="32">
                  <c:v>60</c:v>
                </c:pt>
                <c:pt idx="33">
                  <c:v>60</c:v>
                </c:pt>
                <c:pt idx="34">
                  <c:v>60</c:v>
                </c:pt>
                <c:pt idx="35">
                  <c:v>60</c:v>
                </c:pt>
                <c:pt idx="36">
                  <c:v>60</c:v>
                </c:pt>
                <c:pt idx="37">
                  <c:v>60</c:v>
                </c:pt>
                <c:pt idx="38">
                  <c:v>60</c:v>
                </c:pt>
                <c:pt idx="39">
                  <c:v>60</c:v>
                </c:pt>
                <c:pt idx="40">
                  <c:v>60</c:v>
                </c:pt>
                <c:pt idx="41">
                  <c:v>60</c:v>
                </c:pt>
                <c:pt idx="42">
                  <c:v>60</c:v>
                </c:pt>
                <c:pt idx="43">
                  <c:v>60</c:v>
                </c:pt>
                <c:pt idx="44">
                  <c:v>60</c:v>
                </c:pt>
                <c:pt idx="45">
                  <c:v>60</c:v>
                </c:pt>
                <c:pt idx="46">
                  <c:v>60</c:v>
                </c:pt>
                <c:pt idx="47">
                  <c:v>60</c:v>
                </c:pt>
                <c:pt idx="48">
                  <c:v>60</c:v>
                </c:pt>
                <c:pt idx="49">
                  <c:v>60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0</c:v>
                </c:pt>
                <c:pt idx="55">
                  <c:v>60</c:v>
                </c:pt>
                <c:pt idx="56">
                  <c:v>60</c:v>
                </c:pt>
                <c:pt idx="57">
                  <c:v>60</c:v>
                </c:pt>
                <c:pt idx="58">
                  <c:v>60</c:v>
                </c:pt>
                <c:pt idx="59">
                  <c:v>60</c:v>
                </c:pt>
                <c:pt idx="60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16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37</c:v>
                </c:pt>
                <c:pt idx="1">
                  <c:v>122</c:v>
                </c:pt>
                <c:pt idx="2">
                  <c:v>113</c:v>
                </c:pt>
                <c:pt idx="3">
                  <c:v>116</c:v>
                </c:pt>
                <c:pt idx="4">
                  <c:v>115</c:v>
                </c:pt>
                <c:pt idx="5">
                  <c:v>117</c:v>
                </c:pt>
                <c:pt idx="6">
                  <c:v>114</c:v>
                </c:pt>
                <c:pt idx="7">
                  <c:v>120</c:v>
                </c:pt>
                <c:pt idx="8">
                  <c:v>120</c:v>
                </c:pt>
                <c:pt idx="9">
                  <c:v>122</c:v>
                </c:pt>
                <c:pt idx="10">
                  <c:v>117</c:v>
                </c:pt>
                <c:pt idx="11">
                  <c:v>116</c:v>
                </c:pt>
                <c:pt idx="12">
                  <c:v>107</c:v>
                </c:pt>
                <c:pt idx="13">
                  <c:v>111</c:v>
                </c:pt>
                <c:pt idx="14">
                  <c:v>112</c:v>
                </c:pt>
                <c:pt idx="15">
                  <c:v>119</c:v>
                </c:pt>
                <c:pt idx="16">
                  <c:v>119</c:v>
                </c:pt>
                <c:pt idx="17">
                  <c:v>114</c:v>
                </c:pt>
                <c:pt idx="18">
                  <c:v>113</c:v>
                </c:pt>
                <c:pt idx="19">
                  <c:v>112</c:v>
                </c:pt>
                <c:pt idx="20">
                  <c:v>117</c:v>
                </c:pt>
                <c:pt idx="21">
                  <c:v>115</c:v>
                </c:pt>
                <c:pt idx="22">
                  <c:v>101</c:v>
                </c:pt>
                <c:pt idx="23">
                  <c:v>97</c:v>
                </c:pt>
                <c:pt idx="24">
                  <c:v>99</c:v>
                </c:pt>
                <c:pt idx="25">
                  <c:v>95</c:v>
                </c:pt>
                <c:pt idx="26">
                  <c:v>88</c:v>
                </c:pt>
                <c:pt idx="27">
                  <c:v>89</c:v>
                </c:pt>
                <c:pt idx="28">
                  <c:v>91</c:v>
                </c:pt>
                <c:pt idx="29">
                  <c:v>82</c:v>
                </c:pt>
                <c:pt idx="30">
                  <c:v>82</c:v>
                </c:pt>
                <c:pt idx="31">
                  <c:v>74</c:v>
                </c:pt>
                <c:pt idx="32">
                  <c:v>74</c:v>
                </c:pt>
                <c:pt idx="33">
                  <c:v>79</c:v>
                </c:pt>
                <c:pt idx="34">
                  <c:v>78</c:v>
                </c:pt>
                <c:pt idx="35">
                  <c:v>80</c:v>
                </c:pt>
                <c:pt idx="36">
                  <c:v>83</c:v>
                </c:pt>
                <c:pt idx="37">
                  <c:v>74</c:v>
                </c:pt>
                <c:pt idx="38">
                  <c:v>73</c:v>
                </c:pt>
                <c:pt idx="39">
                  <c:v>72</c:v>
                </c:pt>
                <c:pt idx="40">
                  <c:v>67</c:v>
                </c:pt>
                <c:pt idx="41">
                  <c:v>64</c:v>
                </c:pt>
                <c:pt idx="42">
                  <c:v>62</c:v>
                </c:pt>
                <c:pt idx="43">
                  <c:v>60</c:v>
                </c:pt>
                <c:pt idx="44">
                  <c:v>50</c:v>
                </c:pt>
                <c:pt idx="45">
                  <c:v>49</c:v>
                </c:pt>
                <c:pt idx="46">
                  <c:v>47</c:v>
                </c:pt>
                <c:pt idx="47">
                  <c:v>46</c:v>
                </c:pt>
                <c:pt idx="48">
                  <c:v>43</c:v>
                </c:pt>
                <c:pt idx="49">
                  <c:v>43</c:v>
                </c:pt>
                <c:pt idx="50">
                  <c:v>39</c:v>
                </c:pt>
                <c:pt idx="51">
                  <c:v>36</c:v>
                </c:pt>
                <c:pt idx="52">
                  <c:v>32</c:v>
                </c:pt>
                <c:pt idx="53">
                  <c:v>3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80.732012451302921</c:v>
                </c:pt>
                <c:pt idx="32">
                  <c:v>78.950160144131559</c:v>
                </c:pt>
                <c:pt idx="33">
                  <c:v>77.188128786747711</c:v>
                </c:pt>
                <c:pt idx="34">
                  <c:v>75.497923234787166</c:v>
                </c:pt>
                <c:pt idx="35">
                  <c:v>73.862414151434223</c:v>
                </c:pt>
                <c:pt idx="36">
                  <c:v>72.252085947132002</c:v>
                </c:pt>
                <c:pt idx="37">
                  <c:v>70.65220303569302</c:v>
                </c:pt>
                <c:pt idx="38">
                  <c:v>69.078999467166426</c:v>
                </c:pt>
                <c:pt idx="39">
                  <c:v>67.489838560184907</c:v>
                </c:pt>
                <c:pt idx="40">
                  <c:v>65.869564226734155</c:v>
                </c:pt>
                <c:pt idx="41">
                  <c:v>64.239124491444556</c:v>
                </c:pt>
                <c:pt idx="42">
                  <c:v>62.575058709902137</c:v>
                </c:pt>
                <c:pt idx="43">
                  <c:v>60.868387487039413</c:v>
                </c:pt>
                <c:pt idx="44">
                  <c:v>59.123647708596636</c:v>
                </c:pt>
                <c:pt idx="45">
                  <c:v>57.353195253941045</c:v>
                </c:pt>
                <c:pt idx="46">
                  <c:v>55.572856636710753</c:v>
                </c:pt>
                <c:pt idx="47">
                  <c:v>53.788843417562461</c:v>
                </c:pt>
                <c:pt idx="48">
                  <c:v>52.000304283045807</c:v>
                </c:pt>
                <c:pt idx="49">
                  <c:v>50.20754087681874</c:v>
                </c:pt>
                <c:pt idx="50">
                  <c:v>48.42375311415006</c:v>
                </c:pt>
                <c:pt idx="51">
                  <c:v>46.657547600236356</c:v>
                </c:pt>
                <c:pt idx="52">
                  <c:v>44.923854154299391</c:v>
                </c:pt>
                <c:pt idx="53">
                  <c:v>43.211675334796212</c:v>
                </c:pt>
                <c:pt idx="54">
                  <c:v>41.527019142176535</c:v>
                </c:pt>
                <c:pt idx="55">
                  <c:v>39.877135415631109</c:v>
                </c:pt>
                <c:pt idx="56">
                  <c:v>38.268738148620642</c:v>
                </c:pt>
                <c:pt idx="57">
                  <c:v>36.707414954763678</c:v>
                </c:pt>
                <c:pt idx="58">
                  <c:v>35.192539203546495</c:v>
                </c:pt>
                <c:pt idx="59">
                  <c:v>33.727596336613608</c:v>
                </c:pt>
                <c:pt idx="60">
                  <c:v>32.3105574740429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80.801824728991079</c:v>
                </c:pt>
                <c:pt idx="32">
                  <c:v>79.151935548004502</c:v>
                </c:pt>
                <c:pt idx="33">
                  <c:v>77.571042961205364</c:v>
                </c:pt>
                <c:pt idx="34">
                  <c:v>76.102363397229851</c:v>
                </c:pt>
                <c:pt idx="35">
                  <c:v>74.73428379658742</c:v>
                </c:pt>
                <c:pt idx="36">
                  <c:v>73.442830601222539</c:v>
                </c:pt>
                <c:pt idx="37">
                  <c:v>72.217509217324334</c:v>
                </c:pt>
                <c:pt idx="38">
                  <c:v>71.075664306942912</c:v>
                </c:pt>
                <c:pt idx="39">
                  <c:v>69.963983454036565</c:v>
                </c:pt>
                <c:pt idx="40">
                  <c:v>68.857985384106598</c:v>
                </c:pt>
                <c:pt idx="41">
                  <c:v>67.774288979830374</c:v>
                </c:pt>
                <c:pt idx="42">
                  <c:v>66.685171917015396</c:v>
                </c:pt>
                <c:pt idx="43">
                  <c:v>65.575565218151567</c:v>
                </c:pt>
                <c:pt idx="44">
                  <c:v>64.443192255548723</c:v>
                </c:pt>
                <c:pt idx="45">
                  <c:v>63.293149668864473</c:v>
                </c:pt>
                <c:pt idx="46">
                  <c:v>62.132757117172069</c:v>
                </c:pt>
                <c:pt idx="47">
                  <c:v>60.96259606936372</c:v>
                </c:pt>
                <c:pt idx="48">
                  <c:v>59.777413173513892</c:v>
                </c:pt>
                <c:pt idx="49">
                  <c:v>58.573979718628948</c:v>
                </c:pt>
                <c:pt idx="50">
                  <c:v>57.361841055943245</c:v>
                </c:pt>
                <c:pt idx="51">
                  <c:v>56.145231418495271</c:v>
                </c:pt>
                <c:pt idx="52">
                  <c:v>54.93550159787759</c:v>
                </c:pt>
                <c:pt idx="53">
                  <c:v>53.719134979481566</c:v>
                </c:pt>
                <c:pt idx="54">
                  <c:v>52.501076902593908</c:v>
                </c:pt>
                <c:pt idx="55">
                  <c:v>51.287920119218214</c:v>
                </c:pt>
                <c:pt idx="56">
                  <c:v>50.085286021626615</c:v>
                </c:pt>
                <c:pt idx="57">
                  <c:v>48.898216624016172</c:v>
                </c:pt>
                <c:pt idx="58">
                  <c:v>47.726047306385311</c:v>
                </c:pt>
                <c:pt idx="59">
                  <c:v>46.572365841631736</c:v>
                </c:pt>
                <c:pt idx="60">
                  <c:v>45.435765796822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80.871637006679236</c:v>
                </c:pt>
                <c:pt idx="32">
                  <c:v>79.353930487341898</c:v>
                </c:pt>
                <c:pt idx="33">
                  <c:v>77.954682777440297</c:v>
                </c:pt>
                <c:pt idx="34">
                  <c:v>76.70792506020976</c:v>
                </c:pt>
                <c:pt idx="35">
                  <c:v>75.6111984895104</c:v>
                </c:pt>
                <c:pt idx="36">
                  <c:v>74.648917557228202</c:v>
                </c:pt>
                <c:pt idx="37">
                  <c:v>73.817571241694594</c:v>
                </c:pt>
                <c:pt idx="38">
                  <c:v>73.137498464489738</c:v>
                </c:pt>
                <c:pt idx="39">
                  <c:v>72.544906536852096</c:v>
                </c:pt>
                <c:pt idx="40">
                  <c:v>72.006338596536295</c:v>
                </c:pt>
                <c:pt idx="41">
                  <c:v>71.536510043801655</c:v>
                </c:pt>
                <c:pt idx="42">
                  <c:v>71.106664795633776</c:v>
                </c:pt>
                <c:pt idx="43">
                  <c:v>70.698292180065351</c:v>
                </c:pt>
                <c:pt idx="44">
                  <c:v>70.302140510100912</c:v>
                </c:pt>
                <c:pt idx="45">
                  <c:v>69.916188799955791</c:v>
                </c:pt>
                <c:pt idx="46">
                  <c:v>69.539767586344112</c:v>
                </c:pt>
                <c:pt idx="47">
                  <c:v>69.168248733475949</c:v>
                </c:pt>
                <c:pt idx="48">
                  <c:v>68.792926948015293</c:v>
                </c:pt>
                <c:pt idx="49">
                  <c:v>68.407403572450391</c:v>
                </c:pt>
                <c:pt idx="50">
                  <c:v>68.016132812509994</c:v>
                </c:pt>
                <c:pt idx="51">
                  <c:v>67.618319368728322</c:v>
                </c:pt>
                <c:pt idx="52">
                  <c:v>67.22106509212081</c:v>
                </c:pt>
                <c:pt idx="53">
                  <c:v>66.807834580081504</c:v>
                </c:pt>
                <c:pt idx="54">
                  <c:v>66.381616298522104</c:v>
                </c:pt>
                <c:pt idx="55">
                  <c:v>65.947147274090966</c:v>
                </c:pt>
                <c:pt idx="56">
                  <c:v>65.508034737237011</c:v>
                </c:pt>
                <c:pt idx="57">
                  <c:v>65.067219125377676</c:v>
                </c:pt>
                <c:pt idx="58">
                  <c:v>64.622705541769648</c:v>
                </c:pt>
                <c:pt idx="59">
                  <c:v>64.177032589727929</c:v>
                </c:pt>
                <c:pt idx="60">
                  <c:v>63.728078582265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80.976574958675911</c:v>
                </c:pt>
                <c:pt idx="32">
                  <c:v>79.657099699464183</c:v>
                </c:pt>
                <c:pt idx="33">
                  <c:v>78.529888968815555</c:v>
                </c:pt>
                <c:pt idx="34">
                  <c:v>77.615569425372342</c:v>
                </c:pt>
                <c:pt idx="35">
                  <c:v>76.931849020763195</c:v>
                </c:pt>
                <c:pt idx="36">
                  <c:v>76.482088029908212</c:v>
                </c:pt>
                <c:pt idx="37">
                  <c:v>76.277493704856255</c:v>
                </c:pt>
                <c:pt idx="38">
                  <c:v>76.346844441063851</c:v>
                </c:pt>
                <c:pt idx="39">
                  <c:v>76.609590049019275</c:v>
                </c:pt>
                <c:pt idx="40">
                  <c:v>77.022972377334028</c:v>
                </c:pt>
                <c:pt idx="41">
                  <c:v>77.604816756345571</c:v>
                </c:pt>
                <c:pt idx="42">
                  <c:v>78.333359045375587</c:v>
                </c:pt>
                <c:pt idx="43">
                  <c:v>79.188437071728103</c:v>
                </c:pt>
                <c:pt idx="44">
                  <c:v>80.153281000516671</c:v>
                </c:pt>
                <c:pt idx="45">
                  <c:v>81.21705568525914</c:v>
                </c:pt>
                <c:pt idx="46">
                  <c:v>82.369470352132424</c:v>
                </c:pt>
                <c:pt idx="47">
                  <c:v>83.602859938817019</c:v>
                </c:pt>
                <c:pt idx="48">
                  <c:v>84.908062739226779</c:v>
                </c:pt>
                <c:pt idx="49">
                  <c:v>86.276232607831574</c:v>
                </c:pt>
                <c:pt idx="50">
                  <c:v>87.70550037351498</c:v>
                </c:pt>
                <c:pt idx="51">
                  <c:v>89.188349703922697</c:v>
                </c:pt>
                <c:pt idx="52">
                  <c:v>90.726226406441157</c:v>
                </c:pt>
                <c:pt idx="53">
                  <c:v>92.300290090575885</c:v>
                </c:pt>
                <c:pt idx="54">
                  <c:v>93.912805233848928</c:v>
                </c:pt>
                <c:pt idx="55">
                  <c:v>95.56694612238033</c:v>
                </c:pt>
                <c:pt idx="56">
                  <c:v>97.262846876664625</c:v>
                </c:pt>
                <c:pt idx="57">
                  <c:v>98.999956232631718</c:v>
                </c:pt>
                <c:pt idx="58">
                  <c:v>100.77405770558258</c:v>
                </c:pt>
                <c:pt idx="59">
                  <c:v>102.58759270253805</c:v>
                </c:pt>
                <c:pt idx="60">
                  <c:v>104.43824292267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5</c:v>
                </c:pt>
                <c:pt idx="1">
                  <c:v>95</c:v>
                </c:pt>
                <c:pt idx="2">
                  <c:v>95</c:v>
                </c:pt>
                <c:pt idx="3">
                  <c:v>95</c:v>
                </c:pt>
                <c:pt idx="4">
                  <c:v>95</c:v>
                </c:pt>
                <c:pt idx="5">
                  <c:v>95</c:v>
                </c:pt>
                <c:pt idx="6">
                  <c:v>95</c:v>
                </c:pt>
                <c:pt idx="7">
                  <c:v>95</c:v>
                </c:pt>
                <c:pt idx="8">
                  <c:v>95</c:v>
                </c:pt>
                <c:pt idx="9">
                  <c:v>95</c:v>
                </c:pt>
                <c:pt idx="10">
                  <c:v>95</c:v>
                </c:pt>
                <c:pt idx="11">
                  <c:v>95</c:v>
                </c:pt>
                <c:pt idx="12">
                  <c:v>95</c:v>
                </c:pt>
                <c:pt idx="13">
                  <c:v>95</c:v>
                </c:pt>
                <c:pt idx="14">
                  <c:v>95</c:v>
                </c:pt>
                <c:pt idx="15">
                  <c:v>95</c:v>
                </c:pt>
                <c:pt idx="16">
                  <c:v>95</c:v>
                </c:pt>
                <c:pt idx="17">
                  <c:v>95</c:v>
                </c:pt>
                <c:pt idx="18">
                  <c:v>95</c:v>
                </c:pt>
                <c:pt idx="19">
                  <c:v>95</c:v>
                </c:pt>
                <c:pt idx="20">
                  <c:v>95</c:v>
                </c:pt>
                <c:pt idx="21">
                  <c:v>95</c:v>
                </c:pt>
                <c:pt idx="22">
                  <c:v>95</c:v>
                </c:pt>
                <c:pt idx="23">
                  <c:v>95</c:v>
                </c:pt>
                <c:pt idx="24">
                  <c:v>95</c:v>
                </c:pt>
                <c:pt idx="25">
                  <c:v>95</c:v>
                </c:pt>
                <c:pt idx="26">
                  <c:v>95</c:v>
                </c:pt>
                <c:pt idx="27">
                  <c:v>95</c:v>
                </c:pt>
                <c:pt idx="28">
                  <c:v>95</c:v>
                </c:pt>
                <c:pt idx="29">
                  <c:v>95</c:v>
                </c:pt>
                <c:pt idx="30">
                  <c:v>95</c:v>
                </c:pt>
                <c:pt idx="31">
                  <c:v>95</c:v>
                </c:pt>
                <c:pt idx="32">
                  <c:v>95</c:v>
                </c:pt>
                <c:pt idx="33">
                  <c:v>95</c:v>
                </c:pt>
                <c:pt idx="34">
                  <c:v>95</c:v>
                </c:pt>
                <c:pt idx="35">
                  <c:v>95</c:v>
                </c:pt>
                <c:pt idx="36">
                  <c:v>95</c:v>
                </c:pt>
                <c:pt idx="37">
                  <c:v>95</c:v>
                </c:pt>
                <c:pt idx="38">
                  <c:v>95</c:v>
                </c:pt>
                <c:pt idx="39">
                  <c:v>95</c:v>
                </c:pt>
                <c:pt idx="40">
                  <c:v>95</c:v>
                </c:pt>
                <c:pt idx="41">
                  <c:v>95</c:v>
                </c:pt>
                <c:pt idx="42">
                  <c:v>95</c:v>
                </c:pt>
                <c:pt idx="43">
                  <c:v>95</c:v>
                </c:pt>
                <c:pt idx="44">
                  <c:v>95</c:v>
                </c:pt>
                <c:pt idx="45">
                  <c:v>95</c:v>
                </c:pt>
                <c:pt idx="46">
                  <c:v>95</c:v>
                </c:pt>
                <c:pt idx="47">
                  <c:v>95</c:v>
                </c:pt>
                <c:pt idx="48">
                  <c:v>95</c:v>
                </c:pt>
                <c:pt idx="49">
                  <c:v>95</c:v>
                </c:pt>
                <c:pt idx="50">
                  <c:v>95</c:v>
                </c:pt>
                <c:pt idx="51">
                  <c:v>95</c:v>
                </c:pt>
                <c:pt idx="52">
                  <c:v>95</c:v>
                </c:pt>
                <c:pt idx="53">
                  <c:v>95</c:v>
                </c:pt>
                <c:pt idx="54">
                  <c:v>95</c:v>
                </c:pt>
                <c:pt idx="55">
                  <c:v>95</c:v>
                </c:pt>
                <c:pt idx="56">
                  <c:v>95</c:v>
                </c:pt>
                <c:pt idx="57">
                  <c:v>95</c:v>
                </c:pt>
                <c:pt idx="58">
                  <c:v>95</c:v>
                </c:pt>
                <c:pt idx="59">
                  <c:v>95</c:v>
                </c:pt>
                <c:pt idx="60">
                  <c:v>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4408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47828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8248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29495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86652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411691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0877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1303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50168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523247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1996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602172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705247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927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92770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719966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57096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71912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15478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800031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84438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6001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19319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64394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722592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52412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93892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131905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7810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7689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0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1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1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1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chart" Target="../charts/chart1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chart" Target="../charts/chart18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chart" Target="../charts/chart19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chart" Target="../charts/chart20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chart" Target="../charts/chart2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86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3021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225869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5" name="Skupina 44">
            <a:extLst>
              <a:ext uri="{FF2B5EF4-FFF2-40B4-BE49-F238E27FC236}">
                <a16:creationId xmlns:a16="http://schemas.microsoft.com/office/drawing/2014/main" id="{016B4913-743B-4226-9C62-28E8BB4F349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4681716-573E-48D2-9B49-80FC11FA75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F0040210-500F-4779-B771-FE87EBF37DF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827055A4-28F5-423B-8D13-E0C776187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5513932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3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19A8BB-2E32-4A7E-B9B0-EC406AD4084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72E36F9-A465-42C9-9CFC-B5761D0AF3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F810104-17EE-44FB-AC63-6551AC0752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0601C-1658-42D9-926B-DDDAAF5234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4FA9B40-2407-4DD2-890D-237AE5F53A5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673C5B7-0878-4D78-ACA0-7D77D164EF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FA9CE8C-9FB1-442A-8641-9ADE0ACD5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53FB0C5-0ED5-49C9-AC56-C6459ABB89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912800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645669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0DEF6DCF-5768-44F1-9BE4-68754ACDD69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3F4971DF-8B8E-4128-BBAC-2CC01FA3BF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4CAFBD2C-ADE2-4D9F-B3E1-BCF4BEAD9B5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0F8C1D97-7C16-424C-B27E-027E690E2D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78010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0D6165D-1CE6-4BF2-9CD6-4F316BB1050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0E8038D-3D21-49AF-A45D-C15E3A32D9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ABD3452-2C97-4E53-A9EC-9F26E9CC07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054E54F-87D5-4D07-9F5A-209FEA358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F6FE6E1-4986-4701-88D9-C05626C720A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C26FC18-0F3C-47E6-AE66-0A1015EBBF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C89CCD7-4281-4CB3-866C-722BFF4094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DCBD40B-648F-4AE6-BB28-1A856C240D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1415153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922631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7AA1024C-A476-483F-857E-E3029C7176C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E37A8565-5E0B-437E-A517-B1FAFBE3BE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50D1B3B-3BF9-462A-A554-53EF985C3A0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D1084862-21F6-483F-BB91-4BF363BA7A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355165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762BA5A-A83C-4024-9A6F-178AC13C1A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4B0D141-90BE-4FAD-B387-9C08F40F7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D2E382B-385F-44C2-AB06-9F7B0C15D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359344C-45C0-4045-AFBD-C6CEAB307C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A0D1566-6B7F-4D69-AE4D-455598DF63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3DE90B7-CA80-40C3-BC20-44198A5E15B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6DECCA2-E9B7-41DD-AB2E-4AC93C5040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A44D430-4D8C-4C52-BCE2-711AD550A38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348877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726597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710B3569-1CE6-400E-8841-05CEF0779A9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1B05475-07AA-472C-BAD5-B339AD56A2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3AAC7D5-EFB1-4BEE-9369-C6F32ECBAF3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D55F7652-5FF2-442E-ACC7-71FD2AC33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86637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9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2E559E8-389A-481C-BBCC-974844B29BE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7EAB07A-F1AA-4673-B57B-7B35C9ED8B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72AD689-3A8F-4A7B-BA37-921475B79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1E1CD1F-0409-4248-91C1-BC9F7DE6EB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242FD54-2910-487D-99F4-0F0B5BE4D3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247B95C-DBB5-41D6-BE66-9B914EA43B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B72F871-4EDC-428B-A430-26FBF03959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35D628-3EC8-4810-B8BB-73B6EA83FA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745963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79290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4C51820D-EDB4-42F9-87D0-F09AB2376DD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D5FF521C-D8C5-407D-9CFD-47DECA2B3C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CE84AD06-33CE-4FF5-A0E2-FB0F44AD67C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56E35915-1E08-4EE3-87F2-9DD5E08B2B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03024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D10D8F5-1FF5-4BAA-9E5D-34D296A2CFF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7719FD6-890B-40D6-AE07-BA61733CA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C57C42A-A01E-4012-96FB-657EC052FB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604048-0942-40C5-AD93-F5AA7CB9C1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E2F256D-43BB-409C-B5D1-53ADF1AA0E4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CFBD33-A818-4CFC-B618-8BD4C605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AEE969D-44A2-4EDD-A098-25F94CDC23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5B0642D-22C7-4FCA-8276-E565342B56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16452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68565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CEDF323-1A71-4A13-B2E2-ADA0517F52D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74EFB9E0-76D0-4223-8784-919ED1B4CC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95B44876-ED0C-4E88-B4AC-B71072BDB7A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3137BD74-35D4-41B7-889A-20BBC88CBD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68310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0BBB3A4-7452-4D61-B39A-404E2A68254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C5223820-97F6-4D7D-84D9-239DBDDE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3F25A1-449A-4684-A14E-EEE33E4951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51C7BFC7-1040-45D1-8CBF-2A996FDC6C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4D9387-6414-4B41-84A3-99594870A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5A5BA75-0E1D-46BE-91F8-8A893C4633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849B96A-ABE8-4EB9-B14F-10E2A71FB9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4A5BFBA-6E5B-4AC3-BF31-17ADF367EC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08058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042630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A370D2B6-768B-41A0-AE4C-CCAA2CC1DC1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6EFD248A-1639-4DE9-8AFB-F78D877C94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FF2A04C6-AE00-4816-BD7F-A0D8E394286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A18F8575-FA5A-47D8-B60F-9C414800B5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10517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38A2DF-8E4E-4395-9B97-142DF064C46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F7AAD07-1B8C-41AC-9BD7-5E4763DE1F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3601F6C-83A3-488A-8A5E-C9036AEBEA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3174F3B-DE80-41D2-89D2-F546587D8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364E75-EA20-469B-AFA5-67EC401D89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E9E5CB9-E14E-41CA-914E-9F09F9CA1D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ACA85C1-A1C0-4E60-91EB-8EE9024F06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7D71D0B-8317-44B5-805A-0CE1DAA9F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805511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0646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3. 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910942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7EA3086-A1B9-429B-8921-A53D69C9C5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89991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A2316A9-A0E5-44E4-81D7-803ADDCB3D6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4A8FC95-33B3-476C-A080-CDDA6987A8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4F3EE9EB-AEAE-45E6-A885-A61AA1CA9D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67E49B2-A434-4326-BEC6-2D8BD4F53D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AE04A3-A919-4790-BDAA-A92A3E9FD7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E4C208B-C896-465B-B8E6-1E0FD32DA6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26B7150-4641-4DE5-9D73-F79C00BFBE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745851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31045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D39AB108-5AF2-4031-AAA8-783891D20E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13793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70567C2-CD1C-4092-B080-5FCCE05A3AD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A81B09-7104-456B-B115-B16B7073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EF0FA68-EAE2-4B4C-886F-FE65D4663C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DE788E2-0307-44AF-90CD-8726CD6113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779CCCB-6E63-46CF-BC1F-325A3232171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3254557-D451-4C03-86D6-29E9473468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468AD35-93BC-47E1-B2A7-CABD720B15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127759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175890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283C157D-DFB5-4757-B885-B661FF14B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838602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55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EB955D61-13B3-40B6-A570-E4177A6512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E8ADE306-C1BE-4AC3-AF4B-59A1E72603F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4602954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3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525849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3061FB4-CC20-460B-BF25-C180CD8EFB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88315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8EC64BD-CDC8-47E4-B30D-DE364DFB2C6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ACA4EC3-1CAC-4A68-8DE6-4FB3F3A354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BFB75E3-8C10-4276-A48D-2DEC99FF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1237D35-934E-41C4-A451-F6866090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815C1F-E73C-4BD3-B20C-56231309FE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ECBEB0-6BC2-49E1-B341-27A659934DB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65219A8-8A2A-441A-BA75-4D4F985C1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5076550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3955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3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7E10A774-EA15-44B5-9309-34A191A21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01964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3A00E97-E32D-49D1-870B-6339C62E1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8AA89FC-C924-4831-AF3C-37F57493FF5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31BEE61-676C-4276-88E7-66E38BE829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AAC0BB-FED6-4672-9C22-7D8E46D0C2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F027BC3-05FA-44F1-B6E2-F0B35D3E865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B0DCF97-7F72-40D8-AF4A-46178D1604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1019F68-E090-4FB1-9186-34A70D09E3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113837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3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56870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A1FEB391-34F6-473D-ABBB-0D1EFAA240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44241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36B40C2-1DE5-4A7B-A53D-FBAF7267E18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2A2AF70-9D7A-4290-8BA2-6415924127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F925505-631F-4FFC-A1AF-5C4D9E4654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C61DEF2-97E5-4902-8360-A7870456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46DEF0E-2290-4C24-9057-82950894755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641E88A-24AB-477A-9321-8F8FF78329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C8B343F-D054-46BD-B81E-8852E9DCD6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6489502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124678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5E7D3D1D-4D4C-47FE-A055-15F0E5987B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4213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7EA8C75-1101-4C05-9D20-C9512ABDBE5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90AD9E0-F671-4113-B0BB-27F9F55C5B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C6CDCF-A8C4-46F6-ACB6-66263D8DE5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E191C55-C75A-4B43-B90E-E1C792DDC1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C8D838F-DE65-4EE8-941F-C20031793BB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C4F63B0-01FE-4433-8DDC-2EF8F43C5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230FEE6-B3CE-46D7-A9A2-03AF984BC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765483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909209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C9F091B0-F0B1-498F-896E-70F3BAF368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7417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288A229-63FD-4E73-84BD-3C4B4A3E34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9911F6A-33D4-4457-92C8-77C5E0D7A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1B23201-58CD-48ED-803E-4B0AC1B7A5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827679D1-F418-45BB-A9BA-60C3B46C4A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997713F-909E-4850-BC45-416381C286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352DD25-77A3-49FD-9E09-16E1D1BEBE8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BD6821D-7217-433C-8B4A-75F4B3B58A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06473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557105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3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5C971A20-26B8-4941-A01E-53B9EFF723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82579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2EEAAB7-3595-4B5C-91A5-1E9F4B262BC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E943336-A85F-448C-A8F8-993F462574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1CA8CF34-A4DF-4B46-9F66-E0316E6915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E919F2D-8A31-4FDA-BB4D-5346494FDC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D417CFB-9A9D-4D30-9420-E798488739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90FC34C-9314-4EDE-960B-13842C8DDB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37A83EB-4402-4CA7-A75C-F08725843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3928912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3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357678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5A12D89-092D-4E47-805E-4CB4B85FF3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8874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CD3F6B1-7523-4B8A-AAD1-83CF1B4155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7731F23-6AAC-4F40-9531-43A82F7FC7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669470A-689F-4343-9D5B-91D4F719B4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7E95874E-29A8-4075-8A65-CF266D8156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8BE3C8E-67A1-497E-8D86-CC50136EAD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8EB3AF9-259D-4FED-8692-E4BEB84E2DD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D18ED65-11BD-4C00-958B-55C5573FD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5313160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87406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DABA614D-502C-448F-9251-F28F422B8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145731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4F722F-FD0E-4A83-A118-D6294ED3FB0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6366F3-4CD2-4BE2-AA2D-A5FA5B466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A876DB-3E01-4BE9-862E-EAE1B0A58D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7A25403-7DF4-4309-B43C-A3AD9D7E14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9B18F9A-BE15-411F-84A2-882DE16A78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4AF5C7EC-1CB1-4CA8-BA0F-B6B9B9A579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371F525-445B-49F1-A710-4F00C4C837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398870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3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575068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71E5ABC5-5FB4-416E-ACA9-DC1E8673CC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26853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6A8A6AE-C283-4ADD-8ED9-7ADE67E80B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1D7DF5-30E0-4C30-9ECE-C7D7DFB510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FE6D5C-24CA-42A8-B430-0FE9448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A862C5-A080-44E8-B073-E493AFDEFA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E42B41-651D-461B-BE00-9A5DF55E2F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084CC47-94D6-4BE4-9551-1DCCA2FD87A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B0DC3909-854C-4458-AEF4-AB08A0982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375517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38752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B9465CD8-973E-4E3F-9EDD-9323489AE5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670596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5878ABD-3B21-451C-9164-8666112634C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4E094C8-35D2-4428-B2C8-8E540A37D5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95DBDAC-A132-429B-912F-86FD69A74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655271-4CE1-42F9-9889-F8F49EEC64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1EFF60B-7A9C-4394-83E4-ECB493EEE2E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C50D538-FF5B-4FDC-BC4E-3856A5931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6E78508-BCBC-4338-9FDE-4AC5FD3C87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10340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458497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C519DDF0-AD3E-477C-9A5A-E3A5F198BC4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9" name="Straight Connector 33">
              <a:extLst>
                <a:ext uri="{FF2B5EF4-FFF2-40B4-BE49-F238E27FC236}">
                  <a16:creationId xmlns:a16="http://schemas.microsoft.com/office/drawing/2014/main" id="{D9FE4C33-8E06-474C-AAD3-1ABD9E01CE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34">
              <a:extLst>
                <a:ext uri="{FF2B5EF4-FFF2-40B4-BE49-F238E27FC236}">
                  <a16:creationId xmlns:a16="http://schemas.microsoft.com/office/drawing/2014/main" id="{B09E21F5-4F04-4912-BB5B-231746E97BA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ACA98D83-752C-40EF-A6CD-5BC2ED2C87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41168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8B9D771-7E79-4C30-8E0C-E5D465403435}"/>
              </a:ext>
            </a:extLst>
          </p:cNvPr>
          <p:cNvGrpSpPr/>
          <p:nvPr/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17FDAAE-AAD6-4BEC-9DCE-F6736772B3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4368E4-022C-4C62-9775-41CBF3FC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5192BC9-16D9-48FE-803C-01DE6A2CB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AA15585-119A-4583-B833-9092232A91E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A282D18-8273-47B6-BA45-6FAE7829ED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3810010-B23C-452B-93DD-979322C6B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A86F0CE-F665-4D2F-8406-56AD8AEEA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967923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630306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6A33D478-1E97-4E06-B77B-9C17115DA2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0983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A901BC-914E-4575-ACDC-47A87242B9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FD7907-ADDD-4AFA-B3F4-D85879E44F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E6D54CF-DB8E-4E31-8517-44635E5B36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B79E11A5-E2BE-4BE6-AAFB-D836BEE1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F49809-1FD0-4666-8D5A-D2F055032B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1607084-B6D5-475C-9F76-B24F52AC090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49B2417-A4AA-4CBD-AF72-B99F8E1FD1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569718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354793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44719EF-05A1-4CEA-9D2B-3A94B88E87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513069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EFC46F0-C3B3-4E3E-A167-E4E15226381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765194-64EF-4D9B-BE39-FF4B75812F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4179A28-A6F6-453C-B7A5-5812984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B89077D-66DD-4D47-B9A3-E7E53823E5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C412B98-F244-45BF-8A28-FF6C6226BE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36B9BED-6C66-4A46-B77F-821B2F1732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B10229C-6346-48D6-A7BF-734F74617A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4431354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3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201484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2A9BAB8F-C4F6-4227-BFF5-3C7FA78B99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63334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2/2021–03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7CF1C8B-0F51-4C01-8EC7-914B162F7A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ACD2E60-5018-46CE-9E9B-964645B72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9143A67-CD82-4025-82FA-0DE685CEF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2BCB97F7-41D0-475A-9EE8-FBBAE31D3A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25E4B9-78F8-4089-8710-76C7AD2388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F5E6932-F518-4253-88DB-F7B09833D2D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046A9D1-AC8F-4521-BBA7-1560DD0A91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39536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719095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6B98E12B-A1FE-4FBD-94D2-B8073A7A60A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AF96D5F2-B160-451E-931F-AAE17E3B46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661709A6-392A-439F-AFC8-2D340A4FD58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F406CCEE-D0D8-47B5-8CBB-A85534987F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642825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3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0CDEAF8-BDE6-4CFF-96AF-96CF38FEF12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6EB5870-DBD7-4A61-B812-DD35516AEF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0033D86-B316-4075-BA91-A7D917DDC3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794628C8-43B3-43B7-9474-CBBB1AFC90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9870AF-476C-44BD-B571-CB8CCE097D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8B457167-EFBF-437E-8172-9BAC5511999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442D2E-01D4-4592-A1F7-35D935512C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21F6911-1A67-4D81-A25D-2126012C80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4654960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159472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0C608603-7243-40CD-AE54-8AD07B5CD1F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A35B795-7DF6-42F5-98E7-107449352E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E37C034-0D1B-4686-ADA7-225C7583FA4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D2EFCA3C-4F00-45AF-8E5E-FA2446E235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92455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FE55678-9D1C-43F1-973C-7E2761C7F2D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63457D-B71E-4896-907E-1E908F179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425D9A4-CD71-4A79-AC70-2089DF166D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272B2D4-9218-46F7-8740-513F711976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D6931DC-E013-469B-B414-13283D3F5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F57D690F-9097-4735-82CB-F6F430B626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B4BF40B-5EAD-4078-A738-DB6F3D7C6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CA454EE-C814-4E47-A5D3-0584BD0CDE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88457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376459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E8D2488-66CE-437B-9FD9-5E1EB399E52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49C0EF2F-2B21-4D9E-A6AC-8FEF489036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939BDC2B-92DD-4C2D-B397-E64B7BBAD5C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D849B1AA-0279-4CF1-859E-0B004C60F5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8208256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B6E109-6A6B-464D-B2CE-3A331CA1270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3C46D6C-18B6-419E-BD02-6788E981AF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5CAD159-633E-4F8B-B20A-21145CB9A2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6EF71F4-C5EF-40AC-B836-38B63DF33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7F2BF1B-1DB3-41E9-B1F0-A479AFE477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60A201-1965-4D24-9003-62A61378CC1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9FD2421-42C7-432A-BBEA-DB12671872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D175F79-7E37-42B2-98D3-573E8E9D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347881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172161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C6355DD5-47B1-4922-B0DE-3C16355D2E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E67693A-CAD5-4EE5-A72F-30D6705A63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3BB9A65-8E7F-48FD-A41C-A2855739CE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53B2A4E4-7631-4145-B86A-47848C2EF4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1530073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0CDFD06-B7C0-490B-8024-94FC18766D1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9F59B3-BD02-483A-A9EC-99D75955BB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30568A2-1B7D-4978-BCBF-24D5E2CB1F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CC9B63B2-EA62-4999-9A70-0C74A6351F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475C954-ECF8-4D84-9126-0C931FA0A6F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1573F3F-DFC0-458D-AA5E-EDD6023602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18058B8-E28E-4DCF-B9A4-1E46686284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9CACA38-42C2-405E-AC93-75418B0C212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EB32143F-D451-4E7F-84C3-C86E856D897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355492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10404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7D47D75-90B8-4CA5-A8A6-360BD1541CF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F891927-C9BB-4EF6-BC05-E86671FA97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84E279-6B4D-4510-8298-6BCD02AA299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4D236103-E678-4D2B-B5D1-B0FD761A6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9869600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AB023C-B396-42E4-89FB-C11B8D1F763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83D96F-8DB9-4269-8760-C4EBB13520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51F68AF-8A53-478C-99CA-83D754558D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95C0C6D-0074-40B8-B0A9-3F8517F9EA0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79DD288-F344-4F7A-832C-B9D061FEDB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AAF966C-2703-44FF-9B17-D195C3DEF4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4DE5E65-DCE0-475B-A227-2AA1337580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40E8C8F-3575-4CD0-BFD4-7C0BBD918B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206648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090114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C007880A-F386-4D98-9E0D-25FE35783CF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50" name="Straight Connector 33">
              <a:extLst>
                <a:ext uri="{FF2B5EF4-FFF2-40B4-BE49-F238E27FC236}">
                  <a16:creationId xmlns:a16="http://schemas.microsoft.com/office/drawing/2014/main" id="{A4DAEC55-58BC-4380-B29F-3E6E1D74BE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34">
              <a:extLst>
                <a:ext uri="{FF2B5EF4-FFF2-40B4-BE49-F238E27FC236}">
                  <a16:creationId xmlns:a16="http://schemas.microsoft.com/office/drawing/2014/main" id="{CB7B02BE-7C55-48A7-96F1-8A8D36D4A06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A1D8FF2A-EFCC-4AEB-A818-BE7E9CF53B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026895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7D82E63-C6F2-4470-9A58-ED8C13C23E3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C393707-2238-4B90-9ADD-9034F4F96B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727A222-38AA-4611-A41D-875BF087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3B7B117-B54B-4315-B491-15189D8397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E27286C-0799-4734-A0A9-CB74C0EB84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5E0204E-F029-416A-A1F3-F806902CBF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93CA92E-23FC-472A-81B5-DE96A4AE47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AE4564A-B823-49ED-B079-A53C398FE2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945128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</TotalTime>
  <Words>2268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Zouharová Anna Bc.</cp:lastModifiedBy>
  <cp:revision>80</cp:revision>
  <dcterms:created xsi:type="dcterms:W3CDTF">2021-03-07T17:04:34Z</dcterms:created>
  <dcterms:modified xsi:type="dcterms:W3CDTF">2021-04-24T16:15:04Z</dcterms:modified>
</cp:coreProperties>
</file>